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4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76" r:id="rId4"/>
    <p:sldMasterId id="2147484728" r:id="rId5"/>
    <p:sldMasterId id="2147484764" r:id="rId6"/>
    <p:sldMasterId id="2147484791" r:id="rId7"/>
    <p:sldMasterId id="2147484820" r:id="rId8"/>
  </p:sldMasterIdLst>
  <p:notesMasterIdLst>
    <p:notesMasterId r:id="rId23"/>
  </p:notesMasterIdLst>
  <p:handoutMasterIdLst>
    <p:handoutMasterId r:id="rId24"/>
  </p:handoutMasterIdLst>
  <p:sldIdLst>
    <p:sldId id="2142533584" r:id="rId9"/>
    <p:sldId id="2142533585" r:id="rId10"/>
    <p:sldId id="2142533586" r:id="rId11"/>
    <p:sldId id="2142533588" r:id="rId12"/>
    <p:sldId id="2142533587" r:id="rId13"/>
    <p:sldId id="2142533589" r:id="rId14"/>
    <p:sldId id="2142533590" r:id="rId15"/>
    <p:sldId id="2142533591" r:id="rId16"/>
    <p:sldId id="2142533592" r:id="rId17"/>
    <p:sldId id="2142533593" r:id="rId18"/>
    <p:sldId id="2142533594" r:id="rId19"/>
    <p:sldId id="2142533595" r:id="rId20"/>
    <p:sldId id="2142533596" r:id="rId21"/>
    <p:sldId id="2142533597" r:id="rId22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75799897-DAC7-47E8-B940-22C7DB952F41}">
          <p14:sldIdLst>
            <p14:sldId id="2142533584"/>
            <p14:sldId id="2142533585"/>
            <p14:sldId id="2142533586"/>
            <p14:sldId id="2142533588"/>
            <p14:sldId id="2142533587"/>
            <p14:sldId id="2142533589"/>
            <p14:sldId id="2142533590"/>
            <p14:sldId id="2142533591"/>
            <p14:sldId id="2142533592"/>
            <p14:sldId id="2142533593"/>
            <p14:sldId id="2142533594"/>
            <p14:sldId id="2142533595"/>
            <p14:sldId id="2142533596"/>
            <p14:sldId id="214253359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5" orient="horz" pos="3929">
          <p15:clr>
            <a:srgbClr val="A4A3A4"/>
          </p15:clr>
        </p15:guide>
        <p15:guide id="6" pos="257">
          <p15:clr>
            <a:srgbClr val="A4A3A4"/>
          </p15:clr>
        </p15:guide>
        <p15:guide id="7" pos="7423" userDrawn="1">
          <p15:clr>
            <a:srgbClr val="A4A3A4"/>
          </p15:clr>
        </p15:guide>
        <p15:guide id="9" orient="horz" pos="10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6DFF"/>
    <a:srgbClr val="FFFFFF"/>
    <a:srgbClr val="F018CC"/>
    <a:srgbClr val="C04345"/>
    <a:srgbClr val="000000"/>
    <a:srgbClr val="F6A800"/>
    <a:srgbClr val="E9C65D"/>
    <a:srgbClr val="859ECD"/>
    <a:srgbClr val="FBE5D6"/>
    <a:srgbClr val="D5B5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066" autoAdjust="0"/>
    <p:restoredTop sz="93365" autoAdjust="0"/>
  </p:normalViewPr>
  <p:slideViewPr>
    <p:cSldViewPr showGuides="1">
      <p:cViewPr>
        <p:scale>
          <a:sx n="70" d="100"/>
          <a:sy n="70" d="100"/>
        </p:scale>
        <p:origin x="797" y="269"/>
      </p:cViewPr>
      <p:guideLst>
        <p:guide pos="3840"/>
        <p:guide orient="horz" pos="2160"/>
        <p:guide orient="horz" pos="3929"/>
        <p:guide pos="257"/>
        <p:guide pos="7423"/>
        <p:guide orient="horz" pos="1026"/>
      </p:guideLst>
    </p:cSldViewPr>
  </p:slideViewPr>
  <p:outlineViewPr>
    <p:cViewPr>
      <p:scale>
        <a:sx n="33" d="100"/>
        <a:sy n="33" d="100"/>
      </p:scale>
      <p:origin x="0" y="-2084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0300"/>
    </p:cViewPr>
  </p:sorterViewPr>
  <p:notesViewPr>
    <p:cSldViewPr showGuides="1">
      <p:cViewPr varScale="1">
        <p:scale>
          <a:sx n="87" d="100"/>
          <a:sy n="87" d="100"/>
        </p:scale>
        <p:origin x="3762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sz="800">
              <a:solidFill>
                <a:schemeClr val="bg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9541EE-4161-4FD6-B6D8-3288FCA74E57}" type="datetimeFigureOut">
              <a:rPr lang="en-GB" sz="800" smtClean="0">
                <a:solidFill>
                  <a:schemeClr val="bg2"/>
                </a:solidFill>
              </a:rPr>
              <a:t>07/10/2020</a:t>
            </a:fld>
            <a:endParaRPr lang="en-GB" sz="800">
              <a:solidFill>
                <a:schemeClr val="bg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sz="800">
              <a:solidFill>
                <a:schemeClr val="bg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A2548E-C0C6-4C39-A29E-647876A56460}" type="slidenum">
              <a:rPr lang="en-GB" sz="800" smtClean="0">
                <a:solidFill>
                  <a:schemeClr val="bg2"/>
                </a:solidFill>
              </a:rPr>
              <a:t>‹#›</a:t>
            </a:fld>
            <a:endParaRPr lang="en-GB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5726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1E6D0D15-3CBD-4A72-8B0E-2F8A26C57238}" type="datetimeFigureOut">
              <a:rPr lang="en-GB" smtClean="0"/>
              <a:pPr/>
              <a:t>07/10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2696" y="861129"/>
            <a:ext cx="5472608" cy="30783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F4A21CF8-ADC7-4604-AC68-F445DB44B31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007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2150" y="860425"/>
            <a:ext cx="5473700" cy="3079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ED4556-990B-426C-AB7E-EB000A486F2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8D91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8D919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3379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714500"/>
            <a:ext cx="1219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b="0" i="0" dirty="0">
              <a:latin typeface="IBM Plex Sans" panose="020B0503050000000000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</p:spPr>
        <p:txBody>
          <a:bodyPr tIns="0">
            <a:noAutofit/>
          </a:bodyPr>
          <a:lstStyle>
            <a:lvl1pPr>
              <a:defRPr sz="1333">
                <a:solidFill>
                  <a:schemeClr val="accent1">
                    <a:lumMod val="40000"/>
                    <a:lumOff val="60000"/>
                  </a:schemeClr>
                </a:solidFill>
                <a:latin typeface="IBM Plex Sans" panose="020B0503050000000000" pitchFamily="34" charset="0"/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379048" y="6118860"/>
            <a:ext cx="5486400" cy="381000"/>
          </a:xfrm>
        </p:spPr>
        <p:txBody>
          <a:bodyPr tIns="0" anchor="b"/>
          <a:lstStyle>
            <a:lvl1pPr>
              <a:defRPr sz="667" b="0">
                <a:solidFill>
                  <a:schemeClr val="bg2">
                    <a:alpha val="70000"/>
                  </a:schemeClr>
                </a:solidFill>
                <a:latin typeface="IBM Plex Sans" panose="020B0503050000000000" pitchFamily="34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379048" y="1714500"/>
            <a:ext cx="5486400" cy="43815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1pPr>
            <a:lvl2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2pPr>
            <a:lvl3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3pPr>
            <a:lvl4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4pPr>
            <a:lvl5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3"/>
          </p:nvPr>
        </p:nvSpPr>
        <p:spPr>
          <a:xfrm>
            <a:off x="6324600" y="1714500"/>
            <a:ext cx="5486400" cy="4381500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1pPr>
            <a:lvl2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2pPr>
            <a:lvl3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3pPr>
            <a:lvl4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4pPr>
            <a:lvl5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19" y="6515113"/>
            <a:ext cx="471765" cy="19050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81000" y="571500"/>
            <a:ext cx="11430000" cy="952500"/>
          </a:xfrm>
        </p:spPr>
        <p:txBody>
          <a:bodyPr>
            <a:noAutofit/>
          </a:bodyPr>
          <a:lstStyle>
            <a:lvl1pPr>
              <a:defRPr>
                <a:latin typeface="IBM Plex Sans" panose="020B0503050000000000" pitchFamily="34" charset="0"/>
                <a:ea typeface="IBM Plex Sans" panose="020B0503050000000000" pitchFamily="34" charset="0"/>
                <a:cs typeface="IBM Plex Sans" panose="020B0503050000000000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DF020F11-0734-4A5A-BF01-530F02469ABC}"/>
              </a:ext>
            </a:extLst>
          </p:cNvPr>
          <p:cNvSpPr txBox="1">
            <a:spLocks/>
          </p:cNvSpPr>
          <p:nvPr userDrawn="1"/>
        </p:nvSpPr>
        <p:spPr>
          <a:xfrm>
            <a:off x="7620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©</a:t>
            </a:r>
            <a:r>
              <a:rPr lang="en-US" sz="333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 </a:t>
            </a:r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666" b="0" i="0" baseline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              </a:t>
            </a:r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46B22E8-F53C-41F9-AB85-FDCA782A8DFA}"/>
              </a:ext>
            </a:extLst>
          </p:cNvPr>
          <p:cNvSpPr txBox="1">
            <a:spLocks/>
          </p:cNvSpPr>
          <p:nvPr userDrawn="1"/>
        </p:nvSpPr>
        <p:spPr>
          <a:xfrm>
            <a:off x="32385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58E78CE6-943F-4AFD-BD2F-1A255FCCC122}"/>
              </a:ext>
            </a:extLst>
          </p:cNvPr>
          <p:cNvSpPr txBox="1">
            <a:spLocks/>
          </p:cNvSpPr>
          <p:nvPr userDrawn="1"/>
        </p:nvSpPr>
        <p:spPr>
          <a:xfrm>
            <a:off x="379048" y="6578160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bg2"/>
                </a:solidFill>
                <a:latin typeface="IBM Plex Sans" panose="020B0503050000000000" pitchFamily="34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bg2"/>
              </a:solidFill>
              <a:latin typeface="IBM Plex Sans" panose="020B0503050000000000" pitchFamily="34" charset="0"/>
              <a:ea typeface="IBM Plex Sans" charset="0"/>
              <a:cs typeface="IBM Plex Sans" charset="0"/>
            </a:endParaRPr>
          </a:p>
        </p:txBody>
      </p:sp>
      <p:sp>
        <p:nvSpPr>
          <p:cNvPr id="25" name="Footer Placeholder 2">
            <a:extLst>
              <a:ext uri="{FF2B5EF4-FFF2-40B4-BE49-F238E27FC236}">
                <a16:creationId xmlns:a16="http://schemas.microsoft.com/office/drawing/2014/main" id="{659C7805-8AE2-43C8-9B0E-9A3A3B2DA28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24600" y="6583680"/>
            <a:ext cx="4114271" cy="18288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666" b="0" i="0" smtClean="0">
                <a:solidFill>
                  <a:schemeClr val="bg2">
                    <a:alpha val="60000"/>
                  </a:schemeClr>
                </a:solidFill>
                <a:ea typeface="IBM Plex Sans" charset="0"/>
                <a:cs typeface="IBM Plex Sans" charset="0"/>
              </a:defRPr>
            </a:lvl1pPr>
          </a:lstStyle>
          <a:p>
            <a:pPr defTabSz="571477"/>
            <a:r>
              <a:rPr lang="en-GB"/>
              <a:t>IoT Architect Masterclass</a:t>
            </a:r>
            <a:endParaRPr lang="en-GB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93B3DD9D-8B8B-4752-8DC3-07A3CC4C13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43100" y="6583680"/>
            <a:ext cx="958401" cy="18288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en-US" sz="666" b="0" i="0" smtClean="0">
                <a:solidFill>
                  <a:schemeClr val="bg2">
                    <a:alpha val="60000"/>
                  </a:schemeClr>
                </a:solidFill>
                <a:ea typeface="IBM Plex Sans" charset="0"/>
                <a:cs typeface="IBM Plex Sans" charset="0"/>
              </a:defRPr>
            </a:lvl1pPr>
          </a:lstStyle>
          <a:p>
            <a:pPr defTabSz="571477"/>
            <a:r>
              <a:rPr lang="en-GB"/>
              <a:t>May 23, 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5270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42731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7" indent="-156627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27934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9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381410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89775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448903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9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28110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5006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4834047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087980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61493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8318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8596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80290817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51595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3579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56033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2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10605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8" cy="3429002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87704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8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3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8" cy="3429002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50044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8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22342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28918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2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5853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582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 i="0">
                <a:latin typeface="IBM Plex Sans" panose="020B050305020300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98887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6968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81743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74179105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90" y="1454615"/>
            <a:ext cx="5620011" cy="4608576"/>
          </a:xfrm>
        </p:spPr>
        <p:txBody>
          <a:bodyPr/>
          <a:lstStyle>
            <a:lvl1pPr marL="156627" indent="-156627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2812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80004843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18401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187459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1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57" algn="dec"/>
              </a:tabLst>
              <a:defRPr sz="1467"/>
            </a:lvl1pPr>
            <a:lvl2pPr marL="230708" indent="-23070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65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394733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5" y="2914868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4092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4754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1388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197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2080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4901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2439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0948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4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714500"/>
            <a:ext cx="1219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b="0" i="0" dirty="0">
              <a:latin typeface="IBM Plex Sans" panose="020B0503050000000000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</p:spPr>
        <p:txBody>
          <a:bodyPr tIns="0">
            <a:noAutofit/>
          </a:bodyPr>
          <a:lstStyle>
            <a:lvl1pPr>
              <a:defRPr sz="1333">
                <a:solidFill>
                  <a:schemeClr val="accent1">
                    <a:lumMod val="40000"/>
                    <a:lumOff val="60000"/>
                  </a:schemeClr>
                </a:solidFill>
                <a:latin typeface="IBM Plex Sans" panose="020B0503050000000000" pitchFamily="34" charset="0"/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6118860"/>
            <a:ext cx="5486400" cy="381000"/>
          </a:xfrm>
        </p:spPr>
        <p:txBody>
          <a:bodyPr tIns="0" anchor="b"/>
          <a:lstStyle>
            <a:lvl1pPr>
              <a:defRPr sz="667" b="0">
                <a:solidFill>
                  <a:schemeClr val="bg2">
                    <a:alpha val="70000"/>
                  </a:schemeClr>
                </a:solidFill>
                <a:latin typeface="IBM Plex Sans" panose="020B0503050000000000" pitchFamily="34" charset="0"/>
                <a:ea typeface="IBM Plex Sans" panose="020B0503050000000000" pitchFamily="34" charset="0"/>
                <a:cs typeface="IBM Plex Sans" panose="020B0503050000000000" pitchFamily="34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381000" y="1714500"/>
            <a:ext cx="2667000" cy="43815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1pPr>
            <a:lvl2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2pPr>
            <a:lvl3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3pPr>
            <a:lvl4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4pPr>
            <a:lvl5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0"/>
          </p:nvPr>
        </p:nvSpPr>
        <p:spPr>
          <a:xfrm>
            <a:off x="6223000" y="1714500"/>
            <a:ext cx="2667000" cy="43815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1pPr>
            <a:lvl2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2pPr>
            <a:lvl3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3pPr>
            <a:lvl4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4pPr>
            <a:lvl5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3302000" y="1714500"/>
            <a:ext cx="2667000" cy="43815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1pPr>
            <a:lvl2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2pPr>
            <a:lvl3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3pPr>
            <a:lvl4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4pPr>
            <a:lvl5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3"/>
          </p:nvPr>
        </p:nvSpPr>
        <p:spPr>
          <a:xfrm>
            <a:off x="9144000" y="1714500"/>
            <a:ext cx="2667000" cy="4381500"/>
          </a:xfrm>
        </p:spPr>
        <p:txBody>
          <a:bodyPr lIns="0" tIns="228600" rIns="0">
            <a:noAutofit/>
          </a:bodyPr>
          <a:lstStyle>
            <a:lvl1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1pPr>
            <a:lvl2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2pPr>
            <a:lvl3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3pPr>
            <a:lvl4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4pPr>
            <a:lvl5pPr>
              <a:defRPr>
                <a:solidFill>
                  <a:schemeClr val="bg2"/>
                </a:solidFill>
                <a:latin typeface="IBM Plex Sans" panose="020B0503050000000000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19" y="6515113"/>
            <a:ext cx="471765" cy="190501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81000" y="571500"/>
            <a:ext cx="11430000" cy="952500"/>
          </a:xfrm>
        </p:spPr>
        <p:txBody>
          <a:bodyPr>
            <a:noAutofit/>
          </a:bodyPr>
          <a:lstStyle>
            <a:lvl1pPr>
              <a:defRPr>
                <a:latin typeface="IBM Plex Sans" panose="020B0503050000000000" pitchFamily="34" charset="0"/>
                <a:ea typeface="IBM Plex Sans" panose="020B0503050000000000" pitchFamily="34" charset="0"/>
                <a:cs typeface="IBM Plex Sans" panose="020B0503050000000000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A93C50D7-C898-4818-B0A9-2550E1FB72B5}"/>
              </a:ext>
            </a:extLst>
          </p:cNvPr>
          <p:cNvSpPr txBox="1">
            <a:spLocks/>
          </p:cNvSpPr>
          <p:nvPr userDrawn="1"/>
        </p:nvSpPr>
        <p:spPr>
          <a:xfrm>
            <a:off x="7620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©</a:t>
            </a:r>
            <a:r>
              <a:rPr lang="en-US" sz="333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 </a:t>
            </a:r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666" b="0" i="0" baseline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              </a:t>
            </a:r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BE4E0345-3B5F-4CDE-8CCD-15D400E345CA}"/>
              </a:ext>
            </a:extLst>
          </p:cNvPr>
          <p:cNvSpPr txBox="1">
            <a:spLocks/>
          </p:cNvSpPr>
          <p:nvPr userDrawn="1"/>
        </p:nvSpPr>
        <p:spPr>
          <a:xfrm>
            <a:off x="32385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FDE0D304-B3B3-4FE5-9932-C3D0698B64D0}"/>
              </a:ext>
            </a:extLst>
          </p:cNvPr>
          <p:cNvSpPr txBox="1">
            <a:spLocks/>
          </p:cNvSpPr>
          <p:nvPr userDrawn="1"/>
        </p:nvSpPr>
        <p:spPr>
          <a:xfrm>
            <a:off x="379048" y="6578160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bg2"/>
                </a:solidFill>
                <a:latin typeface="IBM Plex Sans" panose="020B0503050000000000" pitchFamily="34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bg2"/>
              </a:solidFill>
              <a:latin typeface="IBM Plex Sans" panose="020B0503050000000000" pitchFamily="34" charset="0"/>
              <a:ea typeface="IBM Plex Sans" charset="0"/>
              <a:cs typeface="IBM Plex Sans" charset="0"/>
            </a:endParaRPr>
          </a:p>
        </p:txBody>
      </p:sp>
      <p:sp>
        <p:nvSpPr>
          <p:cNvPr id="29" name="Footer Placeholder 2">
            <a:extLst>
              <a:ext uri="{FF2B5EF4-FFF2-40B4-BE49-F238E27FC236}">
                <a16:creationId xmlns:a16="http://schemas.microsoft.com/office/drawing/2014/main" id="{EDD22A84-EB9D-42EC-AF91-24BA348322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324600" y="6583680"/>
            <a:ext cx="4114271" cy="18288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666" b="0" i="0" smtClean="0">
                <a:solidFill>
                  <a:schemeClr val="bg2">
                    <a:alpha val="60000"/>
                  </a:schemeClr>
                </a:solidFill>
                <a:ea typeface="IBM Plex Sans" charset="0"/>
                <a:cs typeface="IBM Plex Sans" charset="0"/>
              </a:defRPr>
            </a:lvl1pPr>
          </a:lstStyle>
          <a:p>
            <a:pPr defTabSz="571477"/>
            <a:r>
              <a:rPr lang="en-GB"/>
              <a:t>IoT Architect Masterclass</a:t>
            </a:r>
            <a:endParaRPr lang="en-GB" dirty="0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DF23DA6B-94DE-497E-B8F4-99526E3D4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43100" y="6583680"/>
            <a:ext cx="958401" cy="18288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en-US" sz="666" b="0" i="0" smtClean="0">
                <a:solidFill>
                  <a:schemeClr val="bg2">
                    <a:alpha val="60000"/>
                  </a:schemeClr>
                </a:solidFill>
                <a:ea typeface="IBM Plex Sans" charset="0"/>
                <a:cs typeface="IBM Plex Sans" charset="0"/>
              </a:defRPr>
            </a:lvl1pPr>
          </a:lstStyle>
          <a:p>
            <a:pPr defTabSz="571477"/>
            <a:r>
              <a:rPr lang="en-GB"/>
              <a:t>May 23, 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19337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156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3246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2038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502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7612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5291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8130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00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333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333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89" y="268818"/>
            <a:ext cx="5524500" cy="572558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5280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EA6FF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798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8" y="571500"/>
            <a:ext cx="11430000" cy="952500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</p:spPr>
        <p:txBody>
          <a:bodyPr tIns="0">
            <a:noAutofit/>
          </a:bodyPr>
          <a:lstStyle>
            <a:lvl1pPr>
              <a:defRPr sz="1333">
                <a:solidFill>
                  <a:schemeClr val="accent1"/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6118860"/>
            <a:ext cx="5486400" cy="381000"/>
          </a:xfrm>
        </p:spPr>
        <p:txBody>
          <a:bodyPr tIns="0" anchor="b"/>
          <a:lstStyle>
            <a:lvl1pPr>
              <a:defRPr sz="667" b="0">
                <a:solidFill>
                  <a:schemeClr val="bg2">
                    <a:alpha val="7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19" y="6515113"/>
            <a:ext cx="471765" cy="190501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188BA2A4-258F-43E8-A544-84C15D568269}"/>
              </a:ext>
            </a:extLst>
          </p:cNvPr>
          <p:cNvSpPr txBox="1">
            <a:spLocks/>
          </p:cNvSpPr>
          <p:nvPr userDrawn="1"/>
        </p:nvSpPr>
        <p:spPr>
          <a:xfrm>
            <a:off x="7620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solidFill>
                  <a:srgbClr val="898989"/>
                </a:solidFill>
                <a:latin typeface="IBM Plex Sans" charset="0"/>
                <a:ea typeface="IBM Plex Sans" charset="0"/>
                <a:cs typeface="IBM Plex Sans" charset="0"/>
              </a:rPr>
              <a:t>©</a:t>
            </a:r>
            <a:r>
              <a:rPr lang="en-US" sz="333" b="0" i="0" dirty="0">
                <a:solidFill>
                  <a:srgbClr val="898989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  <a:r>
              <a:rPr lang="en-US" sz="666" b="0" i="0" dirty="0">
                <a:solidFill>
                  <a:srgbClr val="898989"/>
                </a:solidFill>
                <a:latin typeface="IBM Plex Sans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666" b="0" i="0" baseline="0" dirty="0">
                <a:solidFill>
                  <a:srgbClr val="898989"/>
                </a:solidFill>
                <a:latin typeface="IBM Plex Sans" charset="0"/>
                <a:ea typeface="IBM Plex Sans" charset="0"/>
                <a:cs typeface="IBM Plex Sans" charset="0"/>
              </a:rPr>
              <a:t>              </a:t>
            </a:r>
            <a:r>
              <a:rPr lang="en-US" sz="666" b="0" i="0" dirty="0">
                <a:solidFill>
                  <a:srgbClr val="898989"/>
                </a:solidFill>
                <a:latin typeface="IBM Plex Sans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360DDFE6-9321-4EB3-8CB3-5293C433EB5D}"/>
              </a:ext>
            </a:extLst>
          </p:cNvPr>
          <p:cNvSpPr txBox="1">
            <a:spLocks/>
          </p:cNvSpPr>
          <p:nvPr userDrawn="1"/>
        </p:nvSpPr>
        <p:spPr>
          <a:xfrm>
            <a:off x="32385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solidFill>
                  <a:srgbClr val="898989"/>
                </a:solidFill>
                <a:latin typeface="IBM Plex Sans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0093EC02-B4A7-45A4-B3E1-7F39B6AF54F2}"/>
              </a:ext>
            </a:extLst>
          </p:cNvPr>
          <p:cNvSpPr txBox="1">
            <a:spLocks/>
          </p:cNvSpPr>
          <p:nvPr userDrawn="1"/>
        </p:nvSpPr>
        <p:spPr>
          <a:xfrm>
            <a:off x="379048" y="6578160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rgbClr val="898989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rgbClr val="898989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1E954371-5F2E-4264-8E6B-8D372BE995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24600" y="6583680"/>
            <a:ext cx="4114271" cy="18288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4363" rtl="0" eaLnBrk="1" latinLnBrk="0" hangingPunct="1">
              <a:defRPr lang="en-US" sz="667" kern="1200" smtClean="0">
                <a:solidFill>
                  <a:srgbClr val="898989"/>
                </a:solidFill>
                <a:latin typeface="IBM Plex Sans" panose="020B0503050000000000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IoT Architect Masterclass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BDA3E536-1CB5-45E2-9DC5-58FE9054A4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43100" y="6583680"/>
            <a:ext cx="958401" cy="18288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667">
                <a:solidFill>
                  <a:srgbClr val="898989"/>
                </a:solidFill>
                <a:latin typeface="IBM Plex Sans" panose="020B0503050000000000" pitchFamily="34" charset="0"/>
              </a:defRPr>
            </a:lvl1pPr>
          </a:lstStyle>
          <a:p>
            <a:r>
              <a:rPr lang="en-US"/>
              <a:t>May 23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1387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8985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8217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081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5628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GB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8318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7696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87005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4124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6" y="3087490"/>
            <a:ext cx="1722793" cy="683025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5267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75F696-CF69-3F43-91E0-14F54EBCF0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20" y="6515113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6008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-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714500"/>
            <a:ext cx="1219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b="0" i="0" dirty="0">
              <a:latin typeface="IBM Plex Sans" panose="020B0503050000000000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220980"/>
            <a:ext cx="5486400" cy="228600"/>
          </a:xfrm>
        </p:spPr>
        <p:txBody>
          <a:bodyPr tIns="0">
            <a:noAutofit/>
          </a:bodyPr>
          <a:lstStyle>
            <a:lvl1pPr>
              <a:defRPr sz="1333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379048" y="6118860"/>
            <a:ext cx="5486400" cy="381000"/>
          </a:xfrm>
        </p:spPr>
        <p:txBody>
          <a:bodyPr tIns="0" anchor="b"/>
          <a:lstStyle>
            <a:lvl1pPr>
              <a:defRPr sz="667" b="0">
                <a:solidFill>
                  <a:schemeClr val="bg2">
                    <a:alpha val="70000"/>
                  </a:schemeClr>
                </a:solidFill>
              </a:defRPr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19" y="6515113"/>
            <a:ext cx="471765" cy="19050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81000" y="571500"/>
            <a:ext cx="11430000" cy="952500"/>
          </a:xfrm>
        </p:spPr>
        <p:txBody>
          <a:bodyPr>
            <a:noAutofit/>
          </a:bodyPr>
          <a:lstStyle>
            <a:lvl1pPr>
              <a:defRPr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074AB220-4847-450A-8A97-B0C62C8C4B10}"/>
              </a:ext>
            </a:extLst>
          </p:cNvPr>
          <p:cNvSpPr txBox="1">
            <a:spLocks/>
          </p:cNvSpPr>
          <p:nvPr userDrawn="1"/>
        </p:nvSpPr>
        <p:spPr>
          <a:xfrm>
            <a:off x="7620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©</a:t>
            </a:r>
            <a:r>
              <a:rPr lang="en-US" sz="333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 </a:t>
            </a:r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2018 IBM Corporation</a:t>
            </a:r>
            <a:r>
              <a:rPr lang="en-US" sz="666" b="0" i="0" baseline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              </a:t>
            </a:r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 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9E036F26-CE65-4E9A-A85D-579C208FEEA1}"/>
              </a:ext>
            </a:extLst>
          </p:cNvPr>
          <p:cNvSpPr txBox="1">
            <a:spLocks/>
          </p:cNvSpPr>
          <p:nvPr userDrawn="1"/>
        </p:nvSpPr>
        <p:spPr>
          <a:xfrm>
            <a:off x="3238500" y="658368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6" b="0" i="0" dirty="0">
                <a:latin typeface="IBM Plex Sans" panose="020B0503050000000000" pitchFamily="34" charset="0"/>
                <a:ea typeface="IBM Plex Sans" charset="0"/>
                <a:cs typeface="IBM Plex Sans" charset="0"/>
              </a:rPr>
              <a:t>IBM Services</a:t>
            </a: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C0674637-8085-4C33-AA29-E962EACF35A3}"/>
              </a:ext>
            </a:extLst>
          </p:cNvPr>
          <p:cNvSpPr txBox="1">
            <a:spLocks/>
          </p:cNvSpPr>
          <p:nvPr userDrawn="1"/>
        </p:nvSpPr>
        <p:spPr>
          <a:xfrm>
            <a:off x="379048" y="6578160"/>
            <a:ext cx="273233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bg2"/>
                </a:solidFill>
                <a:latin typeface="IBM Plex Sans" panose="020B0503050000000000" pitchFamily="34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bg2"/>
              </a:solidFill>
              <a:latin typeface="IBM Plex Sans" panose="020B0503050000000000" pitchFamily="34" charset="0"/>
              <a:ea typeface="IBM Plex Sans" charset="0"/>
              <a:cs typeface="IBM Plex Sans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7FA7C091-073B-49FB-87A5-71C6B894611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24600" y="6583680"/>
            <a:ext cx="4114271" cy="18288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666" b="0" i="0" smtClean="0">
                <a:solidFill>
                  <a:schemeClr val="bg2">
                    <a:alpha val="60000"/>
                  </a:schemeClr>
                </a:solidFill>
                <a:ea typeface="IBM Plex Sans" charset="0"/>
                <a:cs typeface="IBM Plex Sans" charset="0"/>
              </a:defRPr>
            </a:lvl1pPr>
          </a:lstStyle>
          <a:p>
            <a:pPr defTabSz="571477"/>
            <a:r>
              <a:rPr lang="en-GB"/>
              <a:t>IoT Architect Masterclass</a:t>
            </a:r>
            <a:endParaRPr lang="en-GB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AE1EECA-73D7-471C-971D-AB54B4EDD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43100" y="6583680"/>
            <a:ext cx="958401" cy="18288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en-US" sz="666" b="0" i="0" smtClean="0">
                <a:solidFill>
                  <a:schemeClr val="bg2">
                    <a:alpha val="60000"/>
                  </a:schemeClr>
                </a:solidFill>
                <a:ea typeface="IBM Plex Sans" charset="0"/>
                <a:cs typeface="IBM Plex Sans" charset="0"/>
              </a:defRPr>
            </a:lvl1pPr>
          </a:lstStyle>
          <a:p>
            <a:pPr defTabSz="571477"/>
            <a:r>
              <a:rPr lang="en-GB"/>
              <a:t>May 23, 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8688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above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76741" y="6291072"/>
            <a:ext cx="2412576" cy="2682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Watson IoT / © 2019 IBM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6917" y="6291072"/>
            <a:ext cx="280416" cy="268224"/>
          </a:xfrm>
          <a:prstGeom prst="rect">
            <a:avLst/>
          </a:prstGeom>
        </p:spPr>
        <p:txBody>
          <a:bodyPr/>
          <a:lstStyle/>
          <a:p>
            <a:fld id="{E4DBDE34-E9B5-E04F-B662-69720E4BCB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2" y="231648"/>
            <a:ext cx="5966369" cy="1219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78785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81" y="1218083"/>
            <a:ext cx="5358953" cy="956072"/>
          </a:xfrm>
          <a:noFill/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lang="en-US" sz="2400" b="0" i="1" dirty="0">
                <a:solidFill>
                  <a:schemeClr val="bg1"/>
                </a:solidFill>
                <a:latin typeface="Avenir Book" panose="02000503020000020003" pitchFamily="2" charset="0"/>
                <a:cs typeface="Avenir Book" panose="02000503020000020003" pitchFamily="2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9181" y="2623283"/>
            <a:ext cx="5358953" cy="35658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tabLst/>
              <a:defRPr sz="266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author information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 Box 1">
            <a:extLst>
              <a:ext uri="{FF2B5EF4-FFF2-40B4-BE49-F238E27FC236}">
                <a16:creationId xmlns:a16="http://schemas.microsoft.com/office/drawing/2014/main" id="{A401CD1F-9967-CD4E-BA7C-77ACB7A850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9179" y="575733"/>
            <a:ext cx="5453567" cy="6688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t"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>
              <a:lnSpc>
                <a:spcPct val="90000"/>
              </a:lnSpc>
              <a:buClrTx/>
              <a:buFontTx/>
              <a:buNone/>
              <a:defRPr/>
            </a:pPr>
            <a:r>
              <a:rPr lang="en-US" sz="4267" b="1" dirty="0">
                <a:latin typeface="Avenir Book" panose="02000503020000020003" pitchFamily="2" charset="0"/>
                <a:ea typeface="IBM Plex Sans" charset="0"/>
                <a:cs typeface="IBM Plex Sans" charset="0"/>
              </a:rPr>
              <a:t>IBM Edge Computing</a:t>
            </a:r>
            <a:endParaRPr lang="en-US" sz="4267" b="1" dirty="0">
              <a:solidFill>
                <a:schemeClr val="accent5">
                  <a:lumMod val="20000"/>
                  <a:lumOff val="80000"/>
                </a:schemeClr>
              </a:solidFill>
              <a:latin typeface="Avenir Book" panose="02000503020000020003" pitchFamily="2" charset="0"/>
              <a:ea typeface="IBM Plex Sans" charset="0"/>
              <a:cs typeface="IBM Plex Sans" charset="0"/>
            </a:endParaRPr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202DF643-D1C4-7345-AD04-F411567F1F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7378" y="0"/>
            <a:ext cx="7016151" cy="6858000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531EA449-BA44-F142-8BD8-05470B78F0CC}"/>
              </a:ext>
            </a:extLst>
          </p:cNvPr>
          <p:cNvSpPr txBox="1">
            <a:spLocks/>
          </p:cNvSpPr>
          <p:nvPr userDrawn="1"/>
        </p:nvSpPr>
        <p:spPr>
          <a:xfrm>
            <a:off x="4673791" y="6553201"/>
            <a:ext cx="2844431" cy="168275"/>
          </a:xfrm>
          <a:prstGeom prst="rect">
            <a:avLst/>
          </a:prstGeom>
        </p:spPr>
        <p:txBody>
          <a:bodyPr vert="horz" lIns="91420" tIns="45715" rIns="91420" bIns="45715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/>
            <a:r>
              <a:rPr lang="en-US" sz="933" dirty="0">
                <a:solidFill>
                  <a:srgbClr val="FF0000"/>
                </a:solidFill>
              </a:rPr>
              <a:t>IBM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8514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073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600"/>
              </a:spcBef>
              <a:spcAft>
                <a:spcPts val="300"/>
              </a:spcAft>
              <a:defRPr/>
            </a:lvl1pPr>
            <a:lvl2pPr>
              <a:spcBef>
                <a:spcPts val="400"/>
              </a:spcBef>
              <a:spcAft>
                <a:spcPts val="200"/>
              </a:spcAft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144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op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22" y="1066802"/>
            <a:ext cx="10972165" cy="2256183"/>
          </a:xfrm>
        </p:spPr>
        <p:txBody>
          <a:bodyPr/>
          <a:lstStyle>
            <a:lvl1pPr>
              <a:spcBef>
                <a:spcPts val="300"/>
              </a:spcBef>
              <a:spcAft>
                <a:spcPts val="100"/>
              </a:spcAft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148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ttom Hal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22" y="4005374"/>
            <a:ext cx="10972165" cy="2256183"/>
          </a:xfrm>
        </p:spPr>
        <p:txBody>
          <a:bodyPr/>
          <a:lstStyle>
            <a:lvl1pPr>
              <a:spcBef>
                <a:spcPts val="300"/>
              </a:spcBef>
              <a:spcAft>
                <a:spcPts val="100"/>
              </a:spcAft>
              <a:defRPr/>
            </a:lvl1pPr>
            <a:lvl2pPr>
              <a:spcBef>
                <a:spcPts val="200"/>
              </a:spcBef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379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21" y="1066800"/>
            <a:ext cx="5507875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134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Left Half Content -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21" y="1066800"/>
            <a:ext cx="5507875" cy="5181600"/>
          </a:xfrm>
        </p:spPr>
        <p:txBody>
          <a:bodyPr/>
          <a:lstStyle>
            <a:lvl1pPr>
              <a:spcBef>
                <a:spcPts val="600"/>
              </a:spcBef>
              <a:spcAft>
                <a:spcPts val="300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575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Right 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4545" y="1143000"/>
            <a:ext cx="5507875" cy="5105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871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971802"/>
            <a:ext cx="10972800" cy="838199"/>
          </a:xfr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0" tIns="91440" bIns="91440" anchor="ctr"/>
          <a:lstStyle>
            <a:lvl1pPr algn="l">
              <a:defRPr sz="4000" b="1" cap="all"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421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4697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522" y="1066800"/>
            <a:ext cx="5409495" cy="5059365"/>
          </a:xfrm>
        </p:spPr>
        <p:txBody>
          <a:bodyPr anchor="t">
            <a:normAutofit/>
          </a:bodyPr>
          <a:lstStyle>
            <a:lvl1pPr>
              <a:defRPr sz="2000"/>
            </a:lvl1pPr>
            <a:lvl2pPr>
              <a:spcBef>
                <a:spcPts val="0"/>
              </a:spcBef>
              <a:spcAft>
                <a:spcPts val="0"/>
              </a:spcAft>
              <a:defRPr sz="1800"/>
            </a:lvl2pPr>
            <a:lvl3pPr>
              <a:spcBef>
                <a:spcPts val="0"/>
              </a:spcBef>
              <a:spcAft>
                <a:spcPts val="0"/>
              </a:spcAft>
              <a:defRPr sz="1600"/>
            </a:lvl3pPr>
            <a:lvl4pPr>
              <a:spcBef>
                <a:spcPts val="0"/>
              </a:spcBef>
              <a:spcAft>
                <a:spcPts val="0"/>
              </a:spcAft>
              <a:defRPr sz="1400"/>
            </a:lvl4pPr>
            <a:lvl5pPr>
              <a:spcBef>
                <a:spcPts val="0"/>
              </a:spcBef>
              <a:spcAft>
                <a:spcPts val="0"/>
              </a:spcAft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1397" y="1066800"/>
            <a:ext cx="5411083" cy="5059365"/>
          </a:xfrm>
        </p:spPr>
        <p:txBody>
          <a:bodyPr anchor="t">
            <a:normAutofit/>
          </a:bodyPr>
          <a:lstStyle>
            <a:lvl1pPr>
              <a:defRPr sz="2000"/>
            </a:lvl1pPr>
            <a:lvl2pPr>
              <a:spcBef>
                <a:spcPts val="0"/>
              </a:spcBef>
              <a:spcAft>
                <a:spcPts val="0"/>
              </a:spcAft>
              <a:defRPr sz="1800"/>
            </a:lvl2pPr>
            <a:lvl3pPr>
              <a:spcBef>
                <a:spcPts val="0"/>
              </a:spcBef>
              <a:spcAft>
                <a:spcPts val="0"/>
              </a:spcAft>
              <a:defRPr sz="1600"/>
            </a:lvl3pPr>
            <a:lvl4pPr>
              <a:spcBef>
                <a:spcPts val="0"/>
              </a:spcBef>
              <a:spcAft>
                <a:spcPts val="0"/>
              </a:spcAft>
              <a:defRPr sz="1400"/>
            </a:lvl4pPr>
            <a:lvl5pPr>
              <a:spcBef>
                <a:spcPts val="0"/>
              </a:spcBef>
              <a:spcAft>
                <a:spcPts val="0"/>
              </a:spcAft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165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522" y="1066800"/>
            <a:ext cx="5409495" cy="5059365"/>
          </a:xfrm>
        </p:spPr>
        <p:txBody>
          <a:bodyPr anchor="t">
            <a:normAutofit/>
          </a:bodyPr>
          <a:lstStyle>
            <a:lvl1pPr>
              <a:spcBef>
                <a:spcPts val="400"/>
              </a:spcBef>
              <a:spcAft>
                <a:spcPts val="200"/>
              </a:spcAft>
              <a:defRPr sz="2000"/>
            </a:lvl1pPr>
            <a:lvl2pPr>
              <a:spcBef>
                <a:spcPts val="0"/>
              </a:spcBef>
              <a:spcAft>
                <a:spcPts val="0"/>
              </a:spcAft>
              <a:defRPr sz="1800"/>
            </a:lvl2pPr>
            <a:lvl3pPr>
              <a:spcBef>
                <a:spcPts val="0"/>
              </a:spcBef>
              <a:spcAft>
                <a:spcPts val="0"/>
              </a:spcAft>
              <a:defRPr sz="1600"/>
            </a:lvl3pPr>
            <a:lvl4pPr>
              <a:spcBef>
                <a:spcPts val="0"/>
              </a:spcBef>
              <a:spcAft>
                <a:spcPts val="0"/>
              </a:spcAft>
              <a:defRPr sz="1400"/>
            </a:lvl4pPr>
            <a:lvl5pPr>
              <a:spcBef>
                <a:spcPts val="0"/>
              </a:spcBef>
              <a:spcAft>
                <a:spcPts val="0"/>
              </a:spcAft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1397" y="1066800"/>
            <a:ext cx="5411083" cy="5059365"/>
          </a:xfrm>
        </p:spPr>
        <p:txBody>
          <a:bodyPr anchor="t">
            <a:normAutofit/>
          </a:bodyPr>
          <a:lstStyle>
            <a:lvl1pPr>
              <a:spcBef>
                <a:spcPts val="400"/>
              </a:spcBef>
              <a:spcAft>
                <a:spcPts val="200"/>
              </a:spcAft>
              <a:defRPr sz="2000"/>
            </a:lvl1pPr>
            <a:lvl2pPr>
              <a:spcBef>
                <a:spcPts val="0"/>
              </a:spcBef>
              <a:spcAft>
                <a:spcPts val="0"/>
              </a:spcAft>
              <a:defRPr sz="1800"/>
            </a:lvl2pPr>
            <a:lvl3pPr>
              <a:spcBef>
                <a:spcPts val="0"/>
              </a:spcBef>
              <a:spcAft>
                <a:spcPts val="0"/>
              </a:spcAft>
              <a:defRPr sz="1600"/>
            </a:lvl3pPr>
            <a:lvl4pPr>
              <a:spcBef>
                <a:spcPts val="0"/>
              </a:spcBef>
              <a:spcAft>
                <a:spcPts val="0"/>
              </a:spcAft>
              <a:defRPr sz="1400"/>
            </a:lvl4pPr>
            <a:lvl5pPr>
              <a:spcBef>
                <a:spcPts val="0"/>
              </a:spcBef>
              <a:spcAft>
                <a:spcPts val="0"/>
              </a:spcAft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6681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522" y="990600"/>
            <a:ext cx="5387273" cy="6858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28" indent="0">
              <a:buNone/>
              <a:defRPr sz="1600" b="1"/>
            </a:lvl4pPr>
            <a:lvl5pPr marL="1828572" indent="0">
              <a:buNone/>
              <a:defRPr sz="1600" b="1"/>
            </a:lvl5pPr>
            <a:lvl6pPr marL="2285714" indent="0">
              <a:buNone/>
              <a:defRPr sz="1600" b="1"/>
            </a:lvl6pPr>
            <a:lvl7pPr marL="2742858" indent="0">
              <a:buNone/>
              <a:defRPr sz="1600" b="1"/>
            </a:lvl7pPr>
            <a:lvl8pPr marL="3200000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22" y="1828801"/>
            <a:ext cx="5387273" cy="4297363"/>
          </a:xfrm>
        </p:spPr>
        <p:txBody>
          <a:bodyPr anchor="t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620" y="990600"/>
            <a:ext cx="5388861" cy="6858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28" indent="0">
              <a:buNone/>
              <a:defRPr sz="1600" b="1"/>
            </a:lvl4pPr>
            <a:lvl5pPr marL="1828572" indent="0">
              <a:buNone/>
              <a:defRPr sz="1600" b="1"/>
            </a:lvl5pPr>
            <a:lvl6pPr marL="2285714" indent="0">
              <a:buNone/>
              <a:defRPr sz="1600" b="1"/>
            </a:lvl6pPr>
            <a:lvl7pPr marL="2742858" indent="0">
              <a:buNone/>
              <a:defRPr sz="1600" b="1"/>
            </a:lvl7pPr>
            <a:lvl8pPr marL="3200000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20" y="1828801"/>
            <a:ext cx="5388861" cy="4297363"/>
          </a:xfrm>
        </p:spPr>
        <p:txBody>
          <a:bodyPr anchor="t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308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Co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522" y="990600"/>
            <a:ext cx="5387273" cy="6858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28" indent="0">
              <a:buNone/>
              <a:defRPr sz="1600" b="1"/>
            </a:lvl4pPr>
            <a:lvl5pPr marL="1828572" indent="0">
              <a:buNone/>
              <a:defRPr sz="1600" b="1"/>
            </a:lvl5pPr>
            <a:lvl6pPr marL="2285714" indent="0">
              <a:buNone/>
              <a:defRPr sz="1600" b="1"/>
            </a:lvl6pPr>
            <a:lvl7pPr marL="2742858" indent="0">
              <a:buNone/>
              <a:defRPr sz="1600" b="1"/>
            </a:lvl7pPr>
            <a:lvl8pPr marL="3200000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22" y="1828801"/>
            <a:ext cx="5387273" cy="4297363"/>
          </a:xfrm>
        </p:spPr>
        <p:txBody>
          <a:bodyPr anchor="t">
            <a:normAutofit/>
          </a:bodyPr>
          <a:lstStyle>
            <a:lvl1pPr>
              <a:spcBef>
                <a:spcPts val="400"/>
              </a:spcBef>
              <a:spcAft>
                <a:spcPts val="200"/>
              </a:spcAft>
              <a:defRPr sz="2000"/>
            </a:lvl1pPr>
            <a:lvl2pPr>
              <a:spcBef>
                <a:spcPts val="200"/>
              </a:spcBef>
              <a:defRPr sz="1800"/>
            </a:lvl2pPr>
            <a:lvl3pPr>
              <a:spcBef>
                <a:spcPts val="0"/>
              </a:spcBef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620" y="990600"/>
            <a:ext cx="5388861" cy="6858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28" indent="0">
              <a:buNone/>
              <a:defRPr sz="1600" b="1"/>
            </a:lvl4pPr>
            <a:lvl5pPr marL="1828572" indent="0">
              <a:buNone/>
              <a:defRPr sz="1600" b="1"/>
            </a:lvl5pPr>
            <a:lvl6pPr marL="2285714" indent="0">
              <a:buNone/>
              <a:defRPr sz="1600" b="1"/>
            </a:lvl6pPr>
            <a:lvl7pPr marL="2742858" indent="0">
              <a:buNone/>
              <a:defRPr sz="1600" b="1"/>
            </a:lvl7pPr>
            <a:lvl8pPr marL="3200000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20" y="1828801"/>
            <a:ext cx="5388861" cy="4297363"/>
          </a:xfrm>
        </p:spPr>
        <p:txBody>
          <a:bodyPr anchor="t">
            <a:normAutofit/>
          </a:bodyPr>
          <a:lstStyle>
            <a:lvl1pPr>
              <a:spcBef>
                <a:spcPts val="400"/>
              </a:spcBef>
              <a:spcAft>
                <a:spcPts val="200"/>
              </a:spcAft>
              <a:defRPr sz="2000"/>
            </a:lvl1pPr>
            <a:lvl2pPr>
              <a:spcBef>
                <a:spcPts val="200"/>
              </a:spcBef>
              <a:defRPr sz="1800"/>
            </a:lvl2pPr>
            <a:lvl3pPr>
              <a:spcBef>
                <a:spcPts val="0"/>
              </a:spcBef>
              <a:spcAft>
                <a:spcPts val="0"/>
              </a:spcAft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308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087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6226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1" y="914400"/>
            <a:ext cx="4011091" cy="609600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644" y="914401"/>
            <a:ext cx="6815837" cy="52117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21" y="1676401"/>
            <a:ext cx="4011091" cy="4449763"/>
          </a:xfrm>
        </p:spPr>
        <p:txBody>
          <a:bodyPr/>
          <a:lstStyle>
            <a:lvl1pPr marL="0" indent="0">
              <a:buNone/>
              <a:defRPr sz="1400"/>
            </a:lvl1pPr>
            <a:lvl2pPr marL="457143" indent="0">
              <a:buNone/>
              <a:defRPr sz="1200"/>
            </a:lvl2pPr>
            <a:lvl3pPr marL="914286" indent="0">
              <a:buNone/>
              <a:defRPr sz="1000"/>
            </a:lvl3pPr>
            <a:lvl4pPr marL="1371428" indent="0">
              <a:buNone/>
              <a:defRPr sz="900"/>
            </a:lvl4pPr>
            <a:lvl5pPr marL="1828572" indent="0">
              <a:buNone/>
              <a:defRPr sz="900"/>
            </a:lvl5pPr>
            <a:lvl6pPr marL="2285714" indent="0">
              <a:buNone/>
              <a:defRPr sz="900"/>
            </a:lvl6pPr>
            <a:lvl7pPr marL="2742858" indent="0">
              <a:buNone/>
              <a:defRPr sz="900"/>
            </a:lvl7pPr>
            <a:lvl8pPr marL="3200000" indent="0">
              <a:buNone/>
              <a:defRPr sz="900"/>
            </a:lvl8pPr>
            <a:lvl9pPr marL="3657143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362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466" y="4800600"/>
            <a:ext cx="7314247" cy="566739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466" y="990602"/>
            <a:ext cx="7314247" cy="3736975"/>
          </a:xfrm>
        </p:spPr>
        <p:txBody>
          <a:bodyPr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28" indent="0">
              <a:buNone/>
              <a:defRPr sz="2000"/>
            </a:lvl4pPr>
            <a:lvl5pPr marL="1828572" indent="0">
              <a:buNone/>
              <a:defRPr sz="2000"/>
            </a:lvl5pPr>
            <a:lvl6pPr marL="2285714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466" y="5367338"/>
            <a:ext cx="7314247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43" indent="0">
              <a:buNone/>
              <a:defRPr sz="1200"/>
            </a:lvl2pPr>
            <a:lvl3pPr marL="914286" indent="0">
              <a:buNone/>
              <a:defRPr sz="1000"/>
            </a:lvl3pPr>
            <a:lvl4pPr marL="1371428" indent="0">
              <a:buNone/>
              <a:defRPr sz="900"/>
            </a:lvl4pPr>
            <a:lvl5pPr marL="1828572" indent="0">
              <a:buNone/>
              <a:defRPr sz="900"/>
            </a:lvl5pPr>
            <a:lvl6pPr marL="2285714" indent="0">
              <a:buNone/>
              <a:defRPr sz="900"/>
            </a:lvl6pPr>
            <a:lvl7pPr marL="2742858" indent="0">
              <a:buNone/>
              <a:defRPr sz="900"/>
            </a:lvl7pPr>
            <a:lvl8pPr marL="3200000" indent="0">
              <a:buNone/>
              <a:defRPr sz="900"/>
            </a:lvl8pPr>
            <a:lvl9pPr marL="3657143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748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56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637" y="990601"/>
            <a:ext cx="2742843" cy="51355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21" y="990601"/>
            <a:ext cx="8077736" cy="51355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779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4F27DD-FE62-E84E-A9EA-DE49FF86DF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8F2F6C-9276-564B-B378-09831B7ED050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8633C8-873E-3648-9F6F-3EE3F70D15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5124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Picture 4" descr="A picture containing building, indoor, train&#10;&#10;Description automatically generated">
            <a:extLst>
              <a:ext uri="{FF2B5EF4-FFF2-40B4-BE49-F238E27FC236}">
                <a16:creationId xmlns:a16="http://schemas.microsoft.com/office/drawing/2014/main" id="{5B4AD1DA-527C-0941-8ABC-8792E597C8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82B1B1A-8610-2840-AED2-84F2BFB024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065862"/>
            <a:ext cx="3313164" cy="4726276"/>
          </a:xfrm>
        </p:spPr>
        <p:txBody>
          <a:bodyPr>
            <a:normAutofit/>
          </a:bodyPr>
          <a:lstStyle/>
          <a:p>
            <a:pPr algn="r"/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C4FEA66-2FF3-5E43-A7E8-1EDCAAD67D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3372" y="2286000"/>
            <a:ext cx="0" cy="2286000"/>
          </a:xfrm>
          <a:prstGeom prst="line">
            <a:avLst/>
          </a:prstGeom>
          <a:ln w="158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5254AEA-5B06-8142-8806-1A5DA4CD19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5379" y="1065862"/>
            <a:ext cx="5744685" cy="4726276"/>
          </a:xfrm>
        </p:spPr>
        <p:txBody>
          <a:bodyPr anchor="ctr">
            <a:normAutofit/>
          </a:bodyPr>
          <a:lstStyle/>
          <a:p>
            <a:pPr lvl="0">
              <a:buFont typeface="System Font Regular"/>
              <a:buChar char="-"/>
            </a:pPr>
            <a:r>
              <a:rPr lang="en-US" sz="2000">
                <a:solidFill>
                  <a:srgbClr val="FFFFFF"/>
                </a:solidFill>
              </a:rPr>
              <a:t>Click to edit Master text styles</a:t>
            </a:r>
          </a:p>
          <a:p>
            <a:pPr lvl="1">
              <a:buFont typeface="System Font Regular"/>
              <a:buChar char="-"/>
            </a:pPr>
            <a:r>
              <a:rPr lang="en-US" sz="2000">
                <a:solidFill>
                  <a:srgbClr val="FFFFFF"/>
                </a:solidFill>
              </a:rPr>
              <a:t>Second level</a:t>
            </a:r>
          </a:p>
          <a:p>
            <a:pPr lvl="2">
              <a:buFont typeface="System Font Regular"/>
              <a:buChar char="-"/>
            </a:pPr>
            <a:r>
              <a:rPr lang="en-US" sz="2000">
                <a:solidFill>
                  <a:srgbClr val="FFFFFF"/>
                </a:solidFill>
              </a:rPr>
              <a:t>Third level</a:t>
            </a:r>
          </a:p>
          <a:p>
            <a:pPr lvl="3">
              <a:buFont typeface="System Font Regular"/>
              <a:buChar char="-"/>
            </a:pPr>
            <a:r>
              <a:rPr lang="en-US" sz="2000">
                <a:solidFill>
                  <a:srgbClr val="FFFFFF"/>
                </a:solidFill>
              </a:rPr>
              <a:t>Fourth level</a:t>
            </a:r>
          </a:p>
          <a:p>
            <a:pPr lvl="4">
              <a:buFont typeface="System Font Regular"/>
              <a:buChar char="-"/>
            </a:pPr>
            <a:r>
              <a:rPr lang="en-US" sz="2000">
                <a:solidFill>
                  <a:srgbClr val="FFFFFF"/>
                </a:solidFill>
              </a:rPr>
              <a:t>Fifth level</a:t>
            </a:r>
            <a:endParaRPr lang="en-GB" sz="2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8077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990600"/>
            <a:ext cx="5193792" cy="5334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144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roup Name / DOC ID / Month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19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080"/>
            <a:endParaRPr lang="en-US" sz="2400">
              <a:solidFill>
                <a:srgbClr val="1E88D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74312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080"/>
            <a:endParaRPr lang="en-US" sz="2400">
              <a:solidFill>
                <a:srgbClr val="1E88DA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86296" y="6560366"/>
            <a:ext cx="158961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9080"/>
            <a:r>
              <a:rPr lang="en-US" sz="800" dirty="0">
                <a:solidFill>
                  <a:srgbClr val="2D2D2D"/>
                </a:solidFill>
                <a:cs typeface="Arial" panose="020B0604020202020204" pitchFamily="34" charset="0"/>
              </a:rPr>
              <a:t>© 2017</a:t>
            </a:r>
            <a:r>
              <a:rPr lang="en-US" sz="800" baseline="0" dirty="0">
                <a:solidFill>
                  <a:srgbClr val="2D2D2D"/>
                </a:solidFill>
                <a:cs typeface="Arial" panose="020B0604020202020204" pitchFamily="34" charset="0"/>
              </a:rPr>
              <a:t> </a:t>
            </a:r>
            <a:r>
              <a:rPr lang="en-US" sz="800" dirty="0">
                <a:solidFill>
                  <a:srgbClr val="2D2D2D"/>
                </a:solidFill>
                <a:cs typeface="Arial" panose="020B0604020202020204" pitchFamily="34" charset="0"/>
              </a:rPr>
              <a:t> IBM Corpor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52" y="79816"/>
            <a:ext cx="11284181" cy="628480"/>
          </a:xfrm>
        </p:spPr>
        <p:txBody>
          <a:bodyPr wrap="square" anchor="ctr" anchorCtr="0">
            <a:noAutofit/>
          </a:bodyPr>
          <a:lstStyle>
            <a:lvl1pPr>
              <a:lnSpc>
                <a:spcPts val="4000"/>
              </a:lnSpc>
              <a:defRPr sz="3733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754603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5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E83247-ADFA-479A-9785-1BA293DBD3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2109" y="6458858"/>
            <a:ext cx="11087092" cy="399143"/>
          </a:xfrm>
        </p:spPr>
        <p:txBody>
          <a:bodyPr anchor="b"/>
          <a:lstStyle>
            <a:lvl1pPr>
              <a:spcBef>
                <a:spcPts val="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448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F6648E-2BF3-41DC-A8C8-52F4F353E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8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F6648E-2BF3-41DC-A8C8-52F4F353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747051" y="5635256"/>
            <a:ext cx="12192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2B6F30-F0A4-4325-BBB8-ABA1B6CC3C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2109" y="6458858"/>
            <a:ext cx="11087092" cy="399143"/>
          </a:xfrm>
        </p:spPr>
        <p:txBody>
          <a:bodyPr anchor="b"/>
          <a:lstStyle>
            <a:lvl1pPr>
              <a:spcBef>
                <a:spcPts val="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b="0" dirty="0"/>
              <a:t>Notes:</a:t>
            </a:r>
          </a:p>
          <a:p>
            <a:pPr lvl="0"/>
            <a:r>
              <a:rPr lang="en-US" b="0" dirty="0"/>
              <a:t>Sourc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715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70989" y="1409700"/>
            <a:ext cx="6250028" cy="40386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311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9558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50050BB-6E10-9845-B3B6-D15BB206F0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000" y="6284105"/>
            <a:ext cx="475811" cy="192896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EA4D068-9E46-FC45-B235-148E0C706F02}"/>
              </a:ext>
            </a:extLst>
          </p:cNvPr>
          <p:cNvCxnSpPr/>
          <p:nvPr userDrawn="1"/>
        </p:nvCxnSpPr>
        <p:spPr>
          <a:xfrm>
            <a:off x="9144000" y="381000"/>
            <a:ext cx="0" cy="60960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F9AE847D-7844-6047-9630-BD104F5F4F55}"/>
              </a:ext>
            </a:extLst>
          </p:cNvPr>
          <p:cNvSpPr txBox="1"/>
          <p:nvPr userDrawn="1"/>
        </p:nvSpPr>
        <p:spPr>
          <a:xfrm>
            <a:off x="9525000" y="381000"/>
            <a:ext cx="2286000" cy="1524000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en-US" sz="1667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IBM </a:t>
            </a:r>
            <a:r>
              <a:rPr lang="en-US" sz="1667" b="1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14530490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TITLE-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50050BB-6E10-9845-B3B6-D15BB206F0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000" y="6284105"/>
            <a:ext cx="475811" cy="192896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EA4D068-9E46-FC45-B235-148E0C706F02}"/>
              </a:ext>
            </a:extLst>
          </p:cNvPr>
          <p:cNvCxnSpPr/>
          <p:nvPr userDrawn="1"/>
        </p:nvCxnSpPr>
        <p:spPr>
          <a:xfrm>
            <a:off x="9144000" y="381000"/>
            <a:ext cx="0" cy="6096000"/>
          </a:xfrm>
          <a:prstGeom prst="line">
            <a:avLst/>
          </a:prstGeom>
          <a:ln w="31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7762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043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57437"/>
            <a:ext cx="695452" cy="27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9828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49D1FB43-4B1A-7044-8923-6E15AB5F87AB}"/>
              </a:ext>
            </a:extLst>
          </p:cNvPr>
          <p:cNvSpPr txBox="1">
            <a:spLocks/>
          </p:cNvSpPr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90500" tIns="304800" rIns="7620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500"/>
              </a:spcBef>
            </a:pPr>
            <a:endParaRPr lang="en-US" sz="1500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855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995264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7620142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LEFT-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08299550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3113494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668368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02-RIGH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3733800" y="-19050"/>
            <a:ext cx="8458200" cy="6896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1239330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E4C149-4059-5844-82AF-C9ED264EC57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066252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CUSTOM-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00EB2C-CDFE-EA40-A0D4-5889514B32E1}"/>
              </a:ext>
            </a:extLst>
          </p:cNvPr>
          <p:cNvSpPr txBox="1">
            <a:spLocks/>
          </p:cNvSpPr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90500" tIns="304800" rIns="7620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500"/>
              </a:spcBef>
            </a:pPr>
            <a:endParaRPr lang="en-US" sz="1500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5245148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RIGHT-CUSTOM-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00EB2C-CDFE-EA40-A0D4-5889514B32E1}"/>
              </a:ext>
            </a:extLst>
          </p:cNvPr>
          <p:cNvSpPr txBox="1">
            <a:spLocks/>
          </p:cNvSpPr>
          <p:nvPr userDrawn="1"/>
        </p:nvSpPr>
        <p:spPr>
          <a:xfrm>
            <a:off x="9144000" y="3429000"/>
            <a:ext cx="3048000" cy="34290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90500" tIns="304800" rIns="7620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500"/>
              </a:spcBef>
            </a:pPr>
            <a:endParaRPr lang="en-US" sz="1500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5CC1259-291B-9445-BC74-039472F17EA4}"/>
              </a:ext>
            </a:extLst>
          </p:cNvPr>
          <p:cNvSpPr txBox="1">
            <a:spLocks/>
          </p:cNvSpPr>
          <p:nvPr userDrawn="1"/>
        </p:nvSpPr>
        <p:spPr>
          <a:xfrm>
            <a:off x="6096000" y="0"/>
            <a:ext cx="3048000" cy="34290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90500" tIns="304800" rIns="7620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500"/>
              </a:spcBef>
            </a:pPr>
            <a:endParaRPr lang="en-US" sz="1500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BB7C525-CD59-9041-844E-DAC518083BC1}"/>
              </a:ext>
            </a:extLst>
          </p:cNvPr>
          <p:cNvSpPr txBox="1">
            <a:spLocks/>
          </p:cNvSpPr>
          <p:nvPr userDrawn="1"/>
        </p:nvSpPr>
        <p:spPr>
          <a:xfrm>
            <a:off x="9144000" y="0"/>
            <a:ext cx="3048000" cy="34290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90500" tIns="304800" rIns="7620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500"/>
              </a:spcBef>
            </a:pPr>
            <a:endParaRPr lang="en-US" sz="1500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A9BB12-2089-EC4D-8D06-0CD664F9BC05}"/>
              </a:ext>
            </a:extLst>
          </p:cNvPr>
          <p:cNvSpPr txBox="1">
            <a:spLocks/>
          </p:cNvSpPr>
          <p:nvPr userDrawn="1"/>
        </p:nvSpPr>
        <p:spPr>
          <a:xfrm>
            <a:off x="6096000" y="3429000"/>
            <a:ext cx="3048000" cy="34290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90500" tIns="304800" rIns="7620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500"/>
              </a:spcBef>
            </a:pPr>
            <a:endParaRPr lang="en-US" sz="1500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860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22921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TOP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C45E79-D27B-9C44-8668-61C6ACA5E6DE}"/>
              </a:ext>
            </a:extLst>
          </p:cNvPr>
          <p:cNvSpPr/>
          <p:nvPr userDrawn="1"/>
        </p:nvSpPr>
        <p:spPr>
          <a:xfrm>
            <a:off x="0" y="0"/>
            <a:ext cx="12192000" cy="1905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368016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TOP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C45E79-D27B-9C44-8668-61C6ACA5E6DE}"/>
              </a:ext>
            </a:extLst>
          </p:cNvPr>
          <p:cNvSpPr/>
          <p:nvPr userDrawn="1"/>
        </p:nvSpPr>
        <p:spPr>
          <a:xfrm>
            <a:off x="0" y="0"/>
            <a:ext cx="12192000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525A904-4DA7-424F-85A1-DAB45E3AE430}"/>
              </a:ext>
            </a:extLst>
          </p:cNvPr>
          <p:cNvSpPr txBox="1">
            <a:spLocks/>
          </p:cNvSpPr>
          <p:nvPr userDrawn="1"/>
        </p:nvSpPr>
        <p:spPr>
          <a:xfrm>
            <a:off x="508000" y="6604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1D5F4FA7-FD05-104E-9192-61048229D1BC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91813438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BFBBCA5-34B8-5B41-917D-1AC0C08F1256}"/>
              </a:ext>
            </a:extLst>
          </p:cNvPr>
          <p:cNvSpPr/>
          <p:nvPr userDrawn="1"/>
        </p:nvSpPr>
        <p:spPr>
          <a:xfrm>
            <a:off x="0" y="0"/>
            <a:ext cx="3048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4671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BFBBCA5-34B8-5B41-917D-1AC0C08F1256}"/>
              </a:ext>
            </a:extLst>
          </p:cNvPr>
          <p:cNvSpPr/>
          <p:nvPr userDrawn="1"/>
        </p:nvSpPr>
        <p:spPr>
          <a:xfrm>
            <a:off x="0" y="0"/>
            <a:ext cx="3048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1099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F7C44C6-E816-F84F-AC3A-3C4C37AFC63C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3048000" cy="6858000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90500" tIns="304800" rIns="7620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500"/>
              </a:spcBef>
            </a:pPr>
            <a:endParaRPr lang="en-US" sz="1500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591E78D3-D6CF-AA4B-89B8-133D7B381A1F}"/>
              </a:ext>
            </a:extLst>
          </p:cNvPr>
          <p:cNvSpPr txBox="1">
            <a:spLocks/>
          </p:cNvSpPr>
          <p:nvPr userDrawn="1"/>
        </p:nvSpPr>
        <p:spPr>
          <a:xfrm>
            <a:off x="3048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baseline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40109247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LEFT-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138068F-B8C1-C94D-B54A-A8AA58D39B3D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4572000" cy="6862763"/>
          </a:xfrm>
          <a:prstGeom prst="rect">
            <a:avLst/>
          </a:prstGeom>
          <a:gradFill>
            <a:gsLst>
              <a:gs pos="20000">
                <a:schemeClr val="accent2"/>
              </a:gs>
              <a:gs pos="100000">
                <a:schemeClr val="accent3"/>
              </a:gs>
            </a:gsLst>
            <a:lin ang="13500000" scaled="1"/>
          </a:gradFill>
          <a:ln w="3175">
            <a:noFill/>
          </a:ln>
        </p:spPr>
        <p:txBody>
          <a:bodyPr lIns="190500" tIns="304800" rIns="76200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1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73038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3968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625475" indent="-168275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–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803275" indent="-173038" algn="l" defTabSz="457200" rtl="0" eaLnBrk="1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/>
              <a:buChar char="»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5000"/>
              </a:lnSpc>
              <a:spcBef>
                <a:spcPts val="500"/>
              </a:spcBef>
            </a:pPr>
            <a:endParaRPr lang="en-US" sz="1500" dirty="0">
              <a:solidFill>
                <a:schemeClr val="bg2">
                  <a:lumMod val="85000"/>
                </a:schemeClr>
              </a:solidFill>
              <a:latin typeface="IBM Plex Sans" panose="020B05030502030002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00855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RIGHT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732EBE-3097-124F-9406-506D3F022304}"/>
              </a:ext>
            </a:extLst>
          </p:cNvPr>
          <p:cNvSpPr/>
          <p:nvPr userDrawn="1"/>
        </p:nvSpPr>
        <p:spPr>
          <a:xfrm>
            <a:off x="9144000" y="0"/>
            <a:ext cx="3048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87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RIGH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732EBE-3097-124F-9406-506D3F022304}"/>
              </a:ext>
            </a:extLst>
          </p:cNvPr>
          <p:cNvSpPr/>
          <p:nvPr userDrawn="1"/>
        </p:nvSpPr>
        <p:spPr>
          <a:xfrm>
            <a:off x="9144000" y="0"/>
            <a:ext cx="3048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31858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5EEA10-72EB-814B-A7C7-581C5689D4FC}"/>
              </a:ext>
            </a:extLst>
          </p:cNvPr>
          <p:cNvSpPr/>
          <p:nvPr userDrawn="1"/>
        </p:nvSpPr>
        <p:spPr>
          <a:xfrm>
            <a:off x="0" y="4953000"/>
            <a:ext cx="12192000" cy="1905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C45E79-D27B-9C44-8668-61C6ACA5E6DE}"/>
              </a:ext>
            </a:extLst>
          </p:cNvPr>
          <p:cNvSpPr/>
          <p:nvPr userDrawn="1"/>
        </p:nvSpPr>
        <p:spPr>
          <a:xfrm>
            <a:off x="10558" y="7344"/>
            <a:ext cx="12192000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89436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03-CUSTOM-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D5EEA10-72EB-814B-A7C7-581C5689D4FC}"/>
              </a:ext>
            </a:extLst>
          </p:cNvPr>
          <p:cNvSpPr/>
          <p:nvPr userDrawn="1"/>
        </p:nvSpPr>
        <p:spPr>
          <a:xfrm>
            <a:off x="3086100" y="-38100"/>
            <a:ext cx="9144000" cy="3543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C45E79-D27B-9C44-8668-61C6ACA5E6DE}"/>
              </a:ext>
            </a:extLst>
          </p:cNvPr>
          <p:cNvSpPr/>
          <p:nvPr userDrawn="1"/>
        </p:nvSpPr>
        <p:spPr>
          <a:xfrm>
            <a:off x="3086100" y="3505200"/>
            <a:ext cx="9144000" cy="3352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5AE2BB0-C7CA-C642-9CCD-2D0C56662797}"/>
              </a:ext>
            </a:extLst>
          </p:cNvPr>
          <p:cNvSpPr txBox="1">
            <a:spLocks/>
          </p:cNvSpPr>
          <p:nvPr userDrawn="1"/>
        </p:nvSpPr>
        <p:spPr>
          <a:xfrm>
            <a:off x="508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661382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19 / © 2019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8275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AE2BC7B-1062-CB47-A195-045FEB13FC79}"/>
              </a:ext>
            </a:extLst>
          </p:cNvPr>
          <p:cNvSpPr/>
          <p:nvPr userDrawn="1"/>
        </p:nvSpPr>
        <p:spPr>
          <a:xfrm>
            <a:off x="9144000" y="0"/>
            <a:ext cx="304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ED3325-B5D8-F649-8684-49FD29ED1EDB}"/>
              </a:ext>
            </a:extLst>
          </p:cNvPr>
          <p:cNvSpPr/>
          <p:nvPr userDrawn="1"/>
        </p:nvSpPr>
        <p:spPr>
          <a:xfrm>
            <a:off x="3048000" y="0"/>
            <a:ext cx="3048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162233-6D65-D649-8061-90915ED45412}"/>
              </a:ext>
            </a:extLst>
          </p:cNvPr>
          <p:cNvSpPr/>
          <p:nvPr userDrawn="1"/>
        </p:nvSpPr>
        <p:spPr>
          <a:xfrm>
            <a:off x="6096000" y="0"/>
            <a:ext cx="306274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8768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CUSTOM-B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AE2BC7B-1062-CB47-A195-045FEB13FC79}"/>
              </a:ext>
            </a:extLst>
          </p:cNvPr>
          <p:cNvSpPr/>
          <p:nvPr userDrawn="1"/>
        </p:nvSpPr>
        <p:spPr>
          <a:xfrm>
            <a:off x="9144000" y="1905000"/>
            <a:ext cx="3048000" cy="4953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5CAD5F-E290-3E48-AC81-6586AAA7DB16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750" b="0" i="0" dirty="0">
              <a:solidFill>
                <a:schemeClr val="tx1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144D36C-24E9-A845-8D61-C1366A7BFD9E}"/>
              </a:ext>
            </a:extLst>
          </p:cNvPr>
          <p:cNvSpPr txBox="1">
            <a:spLocks/>
          </p:cNvSpPr>
          <p:nvPr userDrawn="1"/>
        </p:nvSpPr>
        <p:spPr>
          <a:xfrm>
            <a:off x="9525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FD999D4-B456-9943-89B7-30D56181CE18}" type="slidenum">
              <a:rPr lang="en-US" sz="750" b="0" i="0" smtClean="0">
                <a:solidFill>
                  <a:schemeClr val="bg2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pPr algn="r"/>
              <a:t>‹#›</a:t>
            </a:fld>
            <a:endParaRPr lang="en-US" sz="750" b="0" i="0" dirty="0">
              <a:solidFill>
                <a:schemeClr val="bg2"/>
              </a:solidFill>
              <a:latin typeface="IBM Plex Sans Light" panose="020B0403050203000203" pitchFamily="34" charset="77"/>
              <a:ea typeface="IBM Plex Sans" charset="0"/>
              <a:cs typeface="IBM Plex Sans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ED3325-B5D8-F649-8684-49FD29ED1EDB}"/>
              </a:ext>
            </a:extLst>
          </p:cNvPr>
          <p:cNvSpPr/>
          <p:nvPr userDrawn="1"/>
        </p:nvSpPr>
        <p:spPr>
          <a:xfrm>
            <a:off x="3048000" y="1905000"/>
            <a:ext cx="3048000" cy="4953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A16F11-1F01-9F44-9314-69A431E905B5}"/>
              </a:ext>
            </a:extLst>
          </p:cNvPr>
          <p:cNvSpPr/>
          <p:nvPr userDrawn="1"/>
        </p:nvSpPr>
        <p:spPr>
          <a:xfrm>
            <a:off x="3048000" y="0"/>
            <a:ext cx="9144000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162233-6D65-D649-8061-90915ED45412}"/>
              </a:ext>
            </a:extLst>
          </p:cNvPr>
          <p:cNvSpPr/>
          <p:nvPr userDrawn="1"/>
        </p:nvSpPr>
        <p:spPr>
          <a:xfrm>
            <a:off x="6096000" y="1905000"/>
            <a:ext cx="3062748" cy="4953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9B1ADA8-4B31-3C49-B8CC-117C1B718B55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34615852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18F12899-32F4-6B4E-B921-9D79DF25625D}"/>
              </a:ext>
            </a:extLst>
          </p:cNvPr>
          <p:cNvSpPr txBox="1">
            <a:spLocks/>
          </p:cNvSpPr>
          <p:nvPr userDrawn="1"/>
        </p:nvSpPr>
        <p:spPr>
          <a:xfrm>
            <a:off x="381000" y="6477000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53825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20 IBM Corporation - The information contained in this document is confidential, privileged and only for the information of the intended recipient.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655AB36E-6442-0B4A-A345-ED8D23D4DE61}"/>
              </a:ext>
            </a:extLst>
          </p:cNvPr>
          <p:cNvSpPr txBox="1">
            <a:spLocks/>
          </p:cNvSpPr>
          <p:nvPr userDrawn="1"/>
        </p:nvSpPr>
        <p:spPr>
          <a:xfrm>
            <a:off x="457200" y="6470142"/>
            <a:ext cx="2286000" cy="381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1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0" b="0" i="0" dirty="0">
                <a:solidFill>
                  <a:schemeClr val="tx1"/>
                </a:solidFill>
                <a:latin typeface="IBM Plex Sans Light" panose="020B0403050203000203" pitchFamily="34" charset="77"/>
                <a:ea typeface="IBM Plex Sans" charset="0"/>
                <a:cs typeface="IBM Plex Sans" charset="0"/>
              </a:rPr>
              <a:t>GBS Offering Manag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98534486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799" y="271709"/>
            <a:ext cx="5486402" cy="5972458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6" name="Picture 5" descr="ibm_gry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79"/>
            <a:ext cx="695452" cy="281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4276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3030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1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57" algn="dec"/>
              </a:tabLst>
              <a:defRPr/>
            </a:lvl1pPr>
            <a:lvl2pPr marL="230708" indent="-230708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65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1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357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76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265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71518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799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968331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799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85927183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8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799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010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34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33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32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28" Type="http://schemas.openxmlformats.org/officeDocument/2006/relationships/slideLayout" Target="../slideLayouts/slideLayout121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31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slideLayout" Target="../slideLayouts/slideLayout120.xml"/><Relationship Id="rId30" Type="http://schemas.openxmlformats.org/officeDocument/2006/relationships/slideLayout" Target="../slideLayouts/slideLayout123.xml"/><Relationship Id="rId35" Type="http://schemas.openxmlformats.org/officeDocument/2006/relationships/slideLayout" Target="../slideLayouts/slideLayout128.xml"/><Relationship Id="rId8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571500"/>
            <a:ext cx="5486400" cy="9525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714500"/>
            <a:ext cx="5486400" cy="4381500"/>
          </a:xfrm>
          <a:prstGeom prst="rect">
            <a:avLst/>
          </a:prstGeom>
        </p:spPr>
        <p:txBody>
          <a:bodyPr vert="horz" lIns="0" tIns="22860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0230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8" r:id="rId2"/>
    <p:sldLayoutId id="2147484679" r:id="rId3"/>
    <p:sldLayoutId id="2147484680" r:id="rId4"/>
    <p:sldLayoutId id="2147484727" r:id="rId5"/>
    <p:sldLayoutId id="2147484879" r:id="rId6"/>
  </p:sldLayoutIdLst>
  <p:hf sldNum="0" hdr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914363" rtl="0" eaLnBrk="1" latinLnBrk="0" hangingPunct="1">
        <a:lnSpc>
          <a:spcPct val="105000"/>
        </a:lnSpc>
        <a:spcBef>
          <a:spcPts val="500"/>
        </a:spcBef>
        <a:buFontTx/>
        <a:buNone/>
        <a:tabLst/>
        <a:defRPr sz="1667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1pPr>
      <a:lvl2pPr marL="190492" indent="-190492" algn="l" defTabSz="914363" rtl="0" eaLnBrk="1" latinLnBrk="0" hangingPunct="1">
        <a:lnSpc>
          <a:spcPct val="105000"/>
        </a:lnSpc>
        <a:spcBef>
          <a:spcPts val="500"/>
        </a:spcBef>
        <a:buFont typeface="Wingdings" panose="05000000000000000000" pitchFamily="2" charset="2"/>
        <a:buChar char="§"/>
        <a:defRPr sz="1667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2pPr>
      <a:lvl3pPr marL="380985" indent="-190492" algn="l" defTabSz="914363" rtl="0" eaLnBrk="1" latinLnBrk="0" hangingPunct="1">
        <a:lnSpc>
          <a:spcPct val="105000"/>
        </a:lnSpc>
        <a:spcBef>
          <a:spcPts val="500"/>
        </a:spcBef>
        <a:buSzPct val="80000"/>
        <a:buFont typeface="Arial" panose="020B0604020202020204" pitchFamily="34" charset="0"/>
        <a:buChar char="–"/>
        <a:defRPr sz="1667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3pPr>
      <a:lvl4pPr marL="571477" indent="-190492" algn="l" defTabSz="914363" rtl="0" eaLnBrk="1" latinLnBrk="0" hangingPunct="1">
        <a:lnSpc>
          <a:spcPct val="105000"/>
        </a:lnSpc>
        <a:spcBef>
          <a:spcPts val="500"/>
        </a:spcBef>
        <a:buFont typeface="Arial" panose="020B0604020202020204" pitchFamily="34" charset="0"/>
        <a:buChar char="•"/>
        <a:defRPr sz="1667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4pPr>
      <a:lvl5pPr marL="761970" indent="-190492" algn="l" defTabSz="914363" rtl="0" eaLnBrk="1" latinLnBrk="0" hangingPunct="1">
        <a:lnSpc>
          <a:spcPct val="105000"/>
        </a:lnSpc>
        <a:spcBef>
          <a:spcPts val="500"/>
        </a:spcBef>
        <a:buSzPct val="80000"/>
        <a:buFont typeface="Arial" panose="020B0604020202020204" pitchFamily="34" charset="0"/>
        <a:buChar char="–"/>
        <a:defRPr sz="1667" b="0" i="0" kern="1200">
          <a:solidFill>
            <a:schemeClr val="bg2"/>
          </a:solidFill>
          <a:latin typeface="IBM Plex Sans" charset="0"/>
          <a:ea typeface="IBM Plex Sans" charset="0"/>
          <a:cs typeface="IBM Plex Sans" charset="0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19 / © 2019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1067791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729" r:id="rId1"/>
    <p:sldLayoutId id="2147484730" r:id="rId2"/>
    <p:sldLayoutId id="2147484731" r:id="rId3"/>
    <p:sldLayoutId id="2147484732" r:id="rId4"/>
    <p:sldLayoutId id="2147484733" r:id="rId5"/>
    <p:sldLayoutId id="2147484734" r:id="rId6"/>
    <p:sldLayoutId id="2147484735" r:id="rId7"/>
    <p:sldLayoutId id="2147484736" r:id="rId8"/>
    <p:sldLayoutId id="2147484737" r:id="rId9"/>
    <p:sldLayoutId id="2147484738" r:id="rId10"/>
    <p:sldLayoutId id="2147484739" r:id="rId11"/>
    <p:sldLayoutId id="2147484740" r:id="rId12"/>
    <p:sldLayoutId id="2147484741" r:id="rId13"/>
    <p:sldLayoutId id="2147484742" r:id="rId14"/>
    <p:sldLayoutId id="2147484743" r:id="rId15"/>
    <p:sldLayoutId id="2147484744" r:id="rId16"/>
    <p:sldLayoutId id="2147484745" r:id="rId17"/>
    <p:sldLayoutId id="2147484746" r:id="rId18"/>
    <p:sldLayoutId id="2147484747" r:id="rId19"/>
    <p:sldLayoutId id="2147484748" r:id="rId20"/>
    <p:sldLayoutId id="2147484749" r:id="rId21"/>
    <p:sldLayoutId id="2147484750" r:id="rId22"/>
    <p:sldLayoutId id="2147484751" r:id="rId23"/>
    <p:sldLayoutId id="2147484752" r:id="rId24"/>
    <p:sldLayoutId id="2147484753" r:id="rId25"/>
    <p:sldLayoutId id="2147484754" r:id="rId26"/>
    <p:sldLayoutId id="2147484755" r:id="rId27"/>
    <p:sldLayoutId id="2147484756" r:id="rId28"/>
    <p:sldLayoutId id="2147484757" r:id="rId29"/>
    <p:sldLayoutId id="2147484758" r:id="rId30"/>
    <p:sldLayoutId id="2147484759" r:id="rId31"/>
    <p:sldLayoutId id="2147484760" r:id="rId32"/>
    <p:sldLayoutId id="2147484761" r:id="rId33"/>
    <p:sldLayoutId id="2147484762" r:id="rId3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aseline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522" y="152400"/>
            <a:ext cx="10134679" cy="68580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22" y="1066800"/>
            <a:ext cx="10972165" cy="518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2166" y="422276"/>
            <a:ext cx="609521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609522" y="838200"/>
            <a:ext cx="10972165" cy="0"/>
          </a:xfrm>
          <a:prstGeom prst="line">
            <a:avLst/>
          </a:prstGeom>
          <a:noFill/>
          <a:ln w="9360" cap="sq">
            <a:solidFill>
              <a:srgbClr val="00B2F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sz="1351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22A4B3F-E8A7-C44C-8AAD-072707E086E4}"/>
              </a:ext>
            </a:extLst>
          </p:cNvPr>
          <p:cNvSpPr txBox="1">
            <a:spLocks/>
          </p:cNvSpPr>
          <p:nvPr userDrawn="1"/>
        </p:nvSpPr>
        <p:spPr>
          <a:xfrm>
            <a:off x="8737262" y="6553201"/>
            <a:ext cx="2844431" cy="168275"/>
          </a:xfrm>
          <a:prstGeom prst="rect">
            <a:avLst/>
          </a:prstGeom>
        </p:spPr>
        <p:txBody>
          <a:bodyPr vert="horz" lIns="91420" tIns="45715" rIns="91420" bIns="45715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r"/>
            <a:fld id="{74B8A698-2037-2E43-8A87-CE6311967B28}" type="slidenum">
              <a:rPr lang="en-US" sz="667" smtClean="0">
                <a:solidFill>
                  <a:schemeClr val="bg2"/>
                </a:solidFill>
              </a:rPr>
              <a:t>‹#›</a:t>
            </a:fld>
            <a:endParaRPr lang="en-US" sz="667" dirty="0">
              <a:solidFill>
                <a:schemeClr val="bg2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848863E8-8471-144C-8BE7-9ED19B30693E}"/>
              </a:ext>
            </a:extLst>
          </p:cNvPr>
          <p:cNvSpPr txBox="1">
            <a:spLocks/>
          </p:cNvSpPr>
          <p:nvPr userDrawn="1"/>
        </p:nvSpPr>
        <p:spPr>
          <a:xfrm>
            <a:off x="609526" y="6553201"/>
            <a:ext cx="2844431" cy="168275"/>
          </a:xfrm>
          <a:prstGeom prst="rect">
            <a:avLst/>
          </a:prstGeom>
        </p:spPr>
        <p:txBody>
          <a:bodyPr vert="horz" lIns="91420" tIns="45715" rIns="91420" bIns="45715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fld id="{4238C73A-4BF5-0346-A613-B648FAAD9D6A}" type="datetime4">
              <a:rPr lang="en-US" sz="667" smtClean="0">
                <a:solidFill>
                  <a:schemeClr val="bg2"/>
                </a:solidFill>
              </a:rPr>
              <a:t>October 7, 2020</a:t>
            </a:fld>
            <a:endParaRPr lang="en-US" sz="667" dirty="0">
              <a:solidFill>
                <a:schemeClr val="bg2"/>
              </a:solidFill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7DB7F9-32A2-FA43-80E5-EC6088BF1ECD}"/>
              </a:ext>
            </a:extLst>
          </p:cNvPr>
          <p:cNvSpPr txBox="1">
            <a:spLocks/>
          </p:cNvSpPr>
          <p:nvPr userDrawn="1"/>
        </p:nvSpPr>
        <p:spPr>
          <a:xfrm>
            <a:off x="4673791" y="6553201"/>
            <a:ext cx="2844431" cy="168275"/>
          </a:xfrm>
          <a:prstGeom prst="rect">
            <a:avLst/>
          </a:prstGeom>
        </p:spPr>
        <p:txBody>
          <a:bodyPr vert="horz" lIns="91420" tIns="45715" rIns="91420" bIns="45715" rtlCol="0" anchor="ctr"/>
          <a:lstStyle>
            <a:defPPr>
              <a:defRPr lang="en-GB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700" kern="120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algn="l" defTabSz="457200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algn="ctr"/>
            <a:r>
              <a:rPr lang="en-US" sz="933" dirty="0">
                <a:solidFill>
                  <a:srgbClr val="FF0000"/>
                </a:solidFill>
              </a:rPr>
              <a:t>IBM Confidential</a:t>
            </a:r>
          </a:p>
        </p:txBody>
      </p:sp>
    </p:spTree>
    <p:extLst>
      <p:ext uri="{BB962C8B-B14F-4D97-AF65-F5344CB8AC3E}">
        <p14:creationId xmlns:p14="http://schemas.microsoft.com/office/powerpoint/2010/main" val="80630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5" r:id="rId1"/>
    <p:sldLayoutId id="2147484766" r:id="rId2"/>
    <p:sldLayoutId id="2147484767" r:id="rId3"/>
    <p:sldLayoutId id="2147484768" r:id="rId4"/>
    <p:sldLayoutId id="2147484769" r:id="rId5"/>
    <p:sldLayoutId id="2147484770" r:id="rId6"/>
    <p:sldLayoutId id="2147484771" r:id="rId7"/>
    <p:sldLayoutId id="2147484772" r:id="rId8"/>
    <p:sldLayoutId id="2147484773" r:id="rId9"/>
    <p:sldLayoutId id="2147484774" r:id="rId10"/>
    <p:sldLayoutId id="2147484775" r:id="rId11"/>
    <p:sldLayoutId id="2147484776" r:id="rId12"/>
    <p:sldLayoutId id="2147484777" r:id="rId13"/>
    <p:sldLayoutId id="2147484778" r:id="rId14"/>
    <p:sldLayoutId id="2147484779" r:id="rId15"/>
    <p:sldLayoutId id="2147484780" r:id="rId16"/>
    <p:sldLayoutId id="2147484781" r:id="rId17"/>
    <p:sldLayoutId id="2147484782" r:id="rId18"/>
    <p:sldLayoutId id="2147484783" r:id="rId19"/>
    <p:sldLayoutId id="2147484784" r:id="rId20"/>
    <p:sldLayoutId id="2147484785" r:id="rId21"/>
    <p:sldLayoutId id="2147484786" r:id="rId22"/>
    <p:sldLayoutId id="2147484787" r:id="rId23"/>
    <p:sldLayoutId id="2147484788" r:id="rId24"/>
    <p:sldLayoutId id="2147484789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457143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Avenir Book" panose="02000503020000020003" pitchFamily="2" charset="0"/>
          <a:ea typeface="+mj-ea"/>
          <a:cs typeface="Avenir Book" panose="02000503020000020003" pitchFamily="2" charset="0"/>
        </a:defRPr>
      </a:lvl1pPr>
    </p:titleStyle>
    <p:bodyStyle>
      <a:lvl1pPr marL="342858" indent="-342858" algn="l" defTabSz="457143" rtl="0" eaLnBrk="1" latinLnBrk="0" hangingPunct="1">
        <a:spcBef>
          <a:spcPts val="1400"/>
        </a:spcBef>
        <a:spcAft>
          <a:spcPts val="700"/>
        </a:spcAft>
        <a:buFont typeface="Arial"/>
        <a:buChar char="•"/>
        <a:defRPr sz="200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1pPr>
      <a:lvl2pPr marL="739683" indent="-285714" algn="l" defTabSz="457143" rtl="0" eaLnBrk="1" latinLnBrk="0" hangingPunct="1">
        <a:spcBef>
          <a:spcPts val="300"/>
        </a:spcBef>
        <a:spcAft>
          <a:spcPts val="100"/>
        </a:spcAft>
        <a:buFont typeface="Arial"/>
        <a:buChar char="–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2pPr>
      <a:lvl3pPr marL="1142858" indent="-228572" algn="l" defTabSz="457143" rtl="0" eaLnBrk="1" latinLnBrk="0" hangingPunct="1">
        <a:spcBef>
          <a:spcPts val="200"/>
        </a:spcBef>
        <a:spcAft>
          <a:spcPts val="100"/>
        </a:spcAft>
        <a:buFont typeface="Arial"/>
        <a:buChar char="•"/>
        <a:defRPr sz="160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3pPr>
      <a:lvl4pPr marL="1600000" indent="-228572" algn="l" defTabSz="457143" rtl="0" eaLnBrk="1" latinLnBrk="0" hangingPunct="1">
        <a:spcBef>
          <a:spcPts val="0"/>
        </a:spcBef>
        <a:buFont typeface="Arial"/>
        <a:buChar char="–"/>
        <a:defRPr sz="140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4pPr>
      <a:lvl5pPr marL="2057143" indent="-228572" algn="l" defTabSz="457143" rtl="0" eaLnBrk="1" latinLnBrk="0" hangingPunct="1">
        <a:spcBef>
          <a:spcPts val="0"/>
        </a:spcBef>
        <a:buFont typeface="Arial"/>
        <a:buChar char="»"/>
        <a:defRPr sz="1400" kern="1200">
          <a:solidFill>
            <a:schemeClr val="bg1"/>
          </a:solidFill>
          <a:latin typeface="Avenir Book" panose="02000503020000020003" pitchFamily="2" charset="0"/>
          <a:ea typeface="+mn-ea"/>
          <a:cs typeface="Avenir Book" panose="02000503020000020003" pitchFamily="2" charset="0"/>
        </a:defRPr>
      </a:lvl5pPr>
      <a:lvl6pPr marL="2514286" indent="-228572" algn="l" defTabSz="45714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28" indent="-228572" algn="l" defTabSz="45714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2" indent="-228572" algn="l" defTabSz="45714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4" indent="-228572" algn="l" defTabSz="45714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45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45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8" algn="l" defTabSz="45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2" algn="l" defTabSz="45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4" algn="l" defTabSz="45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8" algn="l" defTabSz="45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45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4571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818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2" r:id="rId1"/>
    <p:sldLayoutId id="2147484793" r:id="rId2"/>
    <p:sldLayoutId id="2147484794" r:id="rId3"/>
    <p:sldLayoutId id="2147484795" r:id="rId4"/>
    <p:sldLayoutId id="2147484796" r:id="rId5"/>
    <p:sldLayoutId id="2147484797" r:id="rId6"/>
    <p:sldLayoutId id="2147484798" r:id="rId7"/>
    <p:sldLayoutId id="2147484799" r:id="rId8"/>
    <p:sldLayoutId id="2147484800" r:id="rId9"/>
    <p:sldLayoutId id="2147484801" r:id="rId10"/>
    <p:sldLayoutId id="2147484802" r:id="rId11"/>
    <p:sldLayoutId id="2147484803" r:id="rId12"/>
    <p:sldLayoutId id="2147484804" r:id="rId13"/>
    <p:sldLayoutId id="2147484805" r:id="rId14"/>
    <p:sldLayoutId id="2147484806" r:id="rId15"/>
    <p:sldLayoutId id="2147484807" r:id="rId16"/>
    <p:sldLayoutId id="2147484808" r:id="rId17"/>
    <p:sldLayoutId id="2147484809" r:id="rId18"/>
    <p:sldLayoutId id="2147484810" r:id="rId19"/>
    <p:sldLayoutId id="2147484811" r:id="rId20"/>
    <p:sldLayoutId id="2147484812" r:id="rId21"/>
    <p:sldLayoutId id="2147484813" r:id="rId22"/>
    <p:sldLayoutId id="2147484814" r:id="rId23"/>
    <p:sldLayoutId id="2147484815" r:id="rId24"/>
    <p:sldLayoutId id="2147484816" r:id="rId25"/>
    <p:sldLayoutId id="2147484817" r:id="rId26"/>
    <p:sldLayoutId id="2147484818" r:id="rId27"/>
    <p:sldLayoutId id="2147484819" r:id="rId28"/>
  </p:sldLayoutIdLst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</p:titleStyle>
    <p:bodyStyle>
      <a:lvl1pPr marL="0" indent="0" algn="l" defTabSz="914363" rtl="0" eaLnBrk="1" latinLnBrk="0" hangingPunct="1">
        <a:lnSpc>
          <a:spcPct val="105000"/>
        </a:lnSpc>
        <a:spcBef>
          <a:spcPts val="1000"/>
        </a:spcBef>
        <a:buFontTx/>
        <a:buNone/>
        <a:tabLst/>
        <a:defRPr sz="1667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1pPr>
      <a:lvl2pPr marL="190492" indent="-190492" algn="l" defTabSz="914363" rtl="0" eaLnBrk="1" latinLnBrk="0" hangingPunct="1">
        <a:lnSpc>
          <a:spcPct val="105000"/>
        </a:lnSpc>
        <a:spcBef>
          <a:spcPts val="833"/>
        </a:spcBef>
        <a:buFont typeface="LucidaGrande" charset="0"/>
        <a:buChar char="-"/>
        <a:defRPr sz="1667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2pPr>
      <a:lvl3pPr marL="380985" indent="-190492" algn="l" defTabSz="914363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1667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3pPr>
      <a:lvl4pPr marL="571477" indent="-190492" algn="l" defTabSz="914363" rtl="0" eaLnBrk="1" latinLnBrk="0" hangingPunct="1">
        <a:lnSpc>
          <a:spcPct val="105000"/>
        </a:lnSpc>
        <a:spcBef>
          <a:spcPts val="0"/>
        </a:spcBef>
        <a:buFont typeface=".AppleSystemUIFont" charset="-120"/>
        <a:buChar char="–"/>
        <a:defRPr sz="1667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4pPr>
      <a:lvl5pPr marL="761970" indent="-190492" algn="l" defTabSz="914363" rtl="0" eaLnBrk="1" latinLnBrk="0" hangingPunct="1">
        <a:lnSpc>
          <a:spcPct val="105000"/>
        </a:lnSpc>
        <a:spcBef>
          <a:spcPts val="0"/>
        </a:spcBef>
        <a:buSzPct val="80000"/>
        <a:buFont typeface="Arial" panose="020B0604020202020204" pitchFamily="34" charset="0"/>
        <a:buChar char="•"/>
        <a:defRPr sz="1667" b="0" i="0" kern="1200">
          <a:solidFill>
            <a:schemeClr val="tx1"/>
          </a:solidFill>
          <a:latin typeface="IBM Plex Sans" charset="0"/>
          <a:ea typeface="IBM Plex Sans" charset="0"/>
          <a:cs typeface="IBM Plex Sans" charset="0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5ACBF0"/>
          </p15:clr>
        </p15:guide>
        <p15:guide id="2" orient="horz" pos="2592">
          <p15:clr>
            <a:srgbClr val="5ACBF0"/>
          </p15:clr>
        </p15:guide>
        <p15:guide id="3" pos="8928">
          <p15:clr>
            <a:srgbClr val="F26B43"/>
          </p15:clr>
        </p15:guide>
        <p15:guide id="4" pos="288">
          <p15:clr>
            <a:srgbClr val="F26B43"/>
          </p15:clr>
        </p15:guide>
        <p15:guide id="5" orient="horz" pos="288">
          <p15:clr>
            <a:srgbClr val="F26B43"/>
          </p15:clr>
        </p15:guide>
        <p15:guide id="6" orient="horz" pos="4896">
          <p15:clr>
            <a:srgbClr val="F26B43"/>
          </p15:clr>
        </p15:guide>
        <p15:guide id="7" pos="2304">
          <p15:clr>
            <a:srgbClr val="5ACBF0"/>
          </p15:clr>
        </p15:guide>
        <p15:guide id="8" pos="6912">
          <p15:clr>
            <a:srgbClr val="5ACBF0"/>
          </p15:clr>
        </p15:guide>
        <p15:guide id="9" orient="horz" pos="1440">
          <p15:clr>
            <a:srgbClr val="5ACBF0"/>
          </p15:clr>
        </p15:guide>
        <p15:guide id="10" orient="horz" pos="3744">
          <p15:clr>
            <a:srgbClr val="5ACBF0"/>
          </p15:clr>
        </p15:guide>
        <p15:guide id="13" pos="2592">
          <p15:clr>
            <a:srgbClr val="5ACBF0"/>
          </p15:clr>
        </p15:guide>
        <p15:guide id="14" pos="2016">
          <p15:clr>
            <a:srgbClr val="5ACBF0"/>
          </p15:clr>
        </p15:guide>
        <p15:guide id="15" pos="4896">
          <p15:clr>
            <a:srgbClr val="5ACBF0"/>
          </p15:clr>
        </p15:guide>
        <p15:guide id="16" pos="4320">
          <p15:clr>
            <a:srgbClr val="5ACBF0"/>
          </p15:clr>
        </p15:guide>
        <p15:guide id="17" pos="7200">
          <p15:clr>
            <a:srgbClr val="5ACBF0"/>
          </p15:clr>
        </p15:guide>
        <p15:guide id="18" pos="6624">
          <p15:clr>
            <a:srgbClr val="5ACBF0"/>
          </p15:clr>
        </p15:guide>
        <p15:guide id="21" orient="horz" pos="432">
          <p15:clr>
            <a:srgbClr val="C35EA4"/>
          </p15:clr>
        </p15:guide>
        <p15:guide id="22" orient="horz" pos="4752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2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819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1" r:id="rId1"/>
    <p:sldLayoutId id="2147484822" r:id="rId2"/>
    <p:sldLayoutId id="2147484823" r:id="rId3"/>
    <p:sldLayoutId id="2147484824" r:id="rId4"/>
    <p:sldLayoutId id="2147484825" r:id="rId5"/>
    <p:sldLayoutId id="2147484826" r:id="rId6"/>
    <p:sldLayoutId id="2147484827" r:id="rId7"/>
    <p:sldLayoutId id="2147484828" r:id="rId8"/>
    <p:sldLayoutId id="2147484829" r:id="rId9"/>
    <p:sldLayoutId id="2147484830" r:id="rId10"/>
    <p:sldLayoutId id="2147484831" r:id="rId11"/>
    <p:sldLayoutId id="2147484832" r:id="rId12"/>
    <p:sldLayoutId id="2147484833" r:id="rId13"/>
    <p:sldLayoutId id="2147484834" r:id="rId14"/>
    <p:sldLayoutId id="2147484835" r:id="rId15"/>
    <p:sldLayoutId id="2147484836" r:id="rId16"/>
    <p:sldLayoutId id="2147484837" r:id="rId17"/>
    <p:sldLayoutId id="2147484838" r:id="rId18"/>
    <p:sldLayoutId id="2147484839" r:id="rId19"/>
    <p:sldLayoutId id="2147484840" r:id="rId20"/>
    <p:sldLayoutId id="2147484841" r:id="rId21"/>
    <p:sldLayoutId id="2147484842" r:id="rId22"/>
    <p:sldLayoutId id="2147484843" r:id="rId23"/>
    <p:sldLayoutId id="2147484844" r:id="rId24"/>
    <p:sldLayoutId id="2147484845" r:id="rId25"/>
    <p:sldLayoutId id="2147484846" r:id="rId26"/>
    <p:sldLayoutId id="2147484847" r:id="rId27"/>
    <p:sldLayoutId id="2147484848" r:id="rId28"/>
    <p:sldLayoutId id="2147484849" r:id="rId29"/>
    <p:sldLayoutId id="2147484850" r:id="rId30"/>
    <p:sldLayoutId id="2147484851" r:id="rId31"/>
    <p:sldLayoutId id="2147484852" r:id="rId32"/>
    <p:sldLayoutId id="2147484853" r:id="rId33"/>
    <p:sldLayoutId id="2147484854" r:id="rId34"/>
    <p:sldLayoutId id="2147484855" r:id="rId35"/>
  </p:sldLayoutIdLst>
  <p:hf hdr="0" dt="0"/>
  <p:txStyles>
    <p:titleStyle>
      <a:lvl1pPr algn="l" defTabSz="609576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76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08" indent="-230708" algn="l" defTabSz="609576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46" indent="-230708" algn="l" defTabSz="609576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33" indent="-224358" algn="l" defTabSz="609576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0990" indent="-230708" algn="l" defTabSz="609576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666" indent="-304788" algn="l" defTabSz="609576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42" indent="-304788" algn="l" defTabSz="609576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17" indent="-304788" algn="l" defTabSz="609576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93" indent="-304788" algn="l" defTabSz="609576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6" algn="l" defTabSz="6095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51" algn="l" defTabSz="6095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27" algn="l" defTabSz="6095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02" algn="l" defTabSz="6095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78" algn="l" defTabSz="6095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54" algn="l" defTabSz="6095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29" algn="l" defTabSz="6095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05" algn="l" defTabSz="60957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ata.gov.uk/dataset/6efe5505-941f-45bf-b576-4c1e09b579a1/road-traffic-accidents" TargetMode="External"/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9D32F9-093A-544F-ABA2-374FEA87FA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0779" y="260648"/>
            <a:ext cx="11117091" cy="4482592"/>
          </a:xfrm>
        </p:spPr>
        <p:txBody>
          <a:bodyPr/>
          <a:lstStyle/>
          <a:p>
            <a:r>
              <a:rPr lang="en-GB" sz="4800" dirty="0">
                <a:solidFill>
                  <a:schemeClr val="accent1"/>
                </a:solidFill>
              </a:rPr>
              <a:t>Car Accident Severity</a:t>
            </a:r>
          </a:p>
          <a:p>
            <a:r>
              <a:rPr lang="en-GB" sz="4000" b="0" i="1" dirty="0">
                <a:latin typeface="IBM Plex Sans Light" panose="020B0403050203000203" pitchFamily="34" charset="0"/>
              </a:rPr>
              <a:t>Applied Data Science Capstone</a:t>
            </a:r>
          </a:p>
          <a:p>
            <a:r>
              <a:rPr lang="en-GB" sz="3600" b="0" i="1" dirty="0">
                <a:latin typeface="IBM Plex Sans Light" panose="020B0403050203000203" pitchFamily="34" charset="0"/>
              </a:rPr>
              <a:t>IBM Data Science Professional Certificate</a:t>
            </a:r>
          </a:p>
          <a:p>
            <a:r>
              <a:rPr lang="en-GB" sz="2800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07</a:t>
            </a:r>
            <a:r>
              <a:rPr lang="en-GB" sz="2800" baseline="30000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th</a:t>
            </a:r>
            <a:r>
              <a:rPr lang="en-GB" sz="2800" dirty="0">
                <a:solidFill>
                  <a:schemeClr val="accent1"/>
                </a:solidFill>
                <a:latin typeface="IBM Plex Sans Light" panose="020B0403050203000203" pitchFamily="34" charset="0"/>
              </a:rPr>
              <a:t> October 2020</a:t>
            </a:r>
            <a:endParaRPr lang="en-GB" sz="1200" dirty="0">
              <a:solidFill>
                <a:schemeClr val="accent1"/>
              </a:solidFill>
              <a:latin typeface="IBM Plex Sans Light" panose="020B0403050203000203" pitchFamily="34" charset="0"/>
            </a:endParaRPr>
          </a:p>
          <a:p>
            <a:endParaRPr lang="en-GB" sz="1800" b="0" dirty="0">
              <a:latin typeface="IBM Plex Sans Light" panose="020B0403050203000203" pitchFamily="34" charset="0"/>
            </a:endParaRPr>
          </a:p>
          <a:p>
            <a:endParaRPr lang="en-GB" sz="1800" b="0" dirty="0">
              <a:latin typeface="IBM Plex Sans Light" panose="020B0403050203000203" pitchFamily="34" charset="0"/>
            </a:endParaRPr>
          </a:p>
          <a:p>
            <a:endParaRPr lang="en-GB" sz="1467" b="0" dirty="0">
              <a:latin typeface="IBM Plex Sans Light" panose="020B0403050203000203" pitchFamily="34" charset="0"/>
            </a:endParaRPr>
          </a:p>
          <a:p>
            <a:endParaRPr lang="en-GB" sz="1467" b="0" dirty="0">
              <a:latin typeface="IBM Plex Sans Light" panose="020B0403050203000203" pitchFamily="34" charset="0"/>
            </a:endParaRPr>
          </a:p>
          <a:p>
            <a:endParaRPr lang="en-GB" sz="750" b="0" dirty="0">
              <a:latin typeface="IBM Plex Sans Light" panose="020B0403050203000203" pitchFamily="34" charset="0"/>
            </a:endParaRPr>
          </a:p>
          <a:p>
            <a:endParaRPr lang="en-GB" sz="1467" b="0" dirty="0">
              <a:latin typeface="IBM Plex Sans Light" panose="020B0403050203000203" pitchFamily="34" charset="0"/>
            </a:endParaRPr>
          </a:p>
          <a:p>
            <a:pPr>
              <a:spcBef>
                <a:spcPts val="667"/>
              </a:spcBef>
            </a:pPr>
            <a:endParaRPr lang="en-GB" sz="1600" b="0" dirty="0"/>
          </a:p>
        </p:txBody>
      </p:sp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82428008-97C3-4A55-A97C-85B8462D71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6320" y="3429000"/>
            <a:ext cx="28575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7054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5CF42370-8AD9-40AD-AD82-708C96926CFF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8333B2-CEA5-4E02-83C1-18CB2C7C4477}"/>
              </a:ext>
            </a:extLst>
          </p:cNvPr>
          <p:cNvSpPr txBox="1"/>
          <p:nvPr/>
        </p:nvSpPr>
        <p:spPr>
          <a:xfrm>
            <a:off x="623392" y="1772816"/>
            <a:ext cx="9937104" cy="4032448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CD88BC4-F7DF-4E6F-833E-FBE69745D7C2}"/>
              </a:ext>
            </a:extLst>
          </p:cNvPr>
          <p:cNvSpPr txBox="1">
            <a:spLocks/>
          </p:cNvSpPr>
          <p:nvPr/>
        </p:nvSpPr>
        <p:spPr>
          <a:xfrm>
            <a:off x="479376" y="289109"/>
            <a:ext cx="10007600" cy="1079500"/>
          </a:xfrm>
          <a:prstGeom prst="rect">
            <a:avLst/>
          </a:prstGeom>
        </p:spPr>
        <p:txBody>
          <a:bodyPr/>
          <a:lstStyle>
            <a:lvl1pPr marL="0" indent="0" algn="l" defTabSz="914363" rtl="0" eaLnBrk="1" latinLnBrk="0" hangingPunct="1">
              <a:lnSpc>
                <a:spcPct val="105000"/>
              </a:lnSpc>
              <a:spcBef>
                <a:spcPts val="1000"/>
              </a:spcBef>
              <a:buFontTx/>
              <a:buNone/>
              <a:tabLst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190492" indent="-190492" algn="l" defTabSz="914363" rtl="0" eaLnBrk="1" latinLnBrk="0" hangingPunct="1">
              <a:lnSpc>
                <a:spcPct val="105000"/>
              </a:lnSpc>
              <a:spcBef>
                <a:spcPts val="833"/>
              </a:spcBef>
              <a:buFont typeface="LucidaGrande" charset="0"/>
              <a:buChar char="-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2pPr>
            <a:lvl3pPr marL="380985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3pPr>
            <a:lvl4pPr marL="571477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Font typeface=".AppleSystemUIFont" charset="-120"/>
              <a:buChar char="–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4pPr>
            <a:lvl5pPr marL="761970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/>
              <a:t>N° of accidents by Casualty Severity and other critical variables</a:t>
            </a:r>
            <a:endParaRPr lang="it-IT" sz="115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6EE8BD-AE42-44E7-B443-B5B55CA95DFC}"/>
              </a:ext>
            </a:extLst>
          </p:cNvPr>
          <p:cNvSpPr txBox="1"/>
          <p:nvPr/>
        </p:nvSpPr>
        <p:spPr>
          <a:xfrm>
            <a:off x="9984432" y="1646802"/>
            <a:ext cx="2880320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050" dirty="0">
                <a:latin typeface="IBM Plex Sans" charset="0"/>
                <a:ea typeface="IBM Plex Sans" charset="0"/>
                <a:cs typeface="IBM Plex Sans" charset="0"/>
              </a:rPr>
              <a:t>For data type info check the report</a:t>
            </a:r>
            <a:endParaRPr lang="it-IT" sz="1600" dirty="0" err="1"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651192-DE4C-4170-B83C-4DDA79996118}"/>
              </a:ext>
            </a:extLst>
          </p:cNvPr>
          <p:cNvSpPr txBox="1"/>
          <p:nvPr/>
        </p:nvSpPr>
        <p:spPr>
          <a:xfrm>
            <a:off x="3008629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C00000"/>
                </a:solidFill>
                <a:latin typeface="IBM Plex Sans" charset="0"/>
                <a:ea typeface="IBM Plex Sans" charset="0"/>
                <a:cs typeface="IBM Plex Sans" charset="0"/>
              </a:rPr>
              <a:t>1. Fatal</a:t>
            </a:r>
            <a:endParaRPr lang="it-IT" sz="1400" b="1" dirty="0" err="1">
              <a:solidFill>
                <a:srgbClr val="C0000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92DCEBD-1D98-48D1-B715-3122F3E262CF}"/>
              </a:ext>
            </a:extLst>
          </p:cNvPr>
          <p:cNvSpPr txBox="1"/>
          <p:nvPr/>
        </p:nvSpPr>
        <p:spPr>
          <a:xfrm>
            <a:off x="5551989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FFC000"/>
                </a:solidFill>
                <a:latin typeface="IBM Plex Sans" charset="0"/>
                <a:ea typeface="IBM Plex Sans" charset="0"/>
                <a:cs typeface="IBM Plex Sans" charset="0"/>
              </a:rPr>
              <a:t>2. Serious</a:t>
            </a:r>
            <a:endParaRPr lang="it-IT" sz="1400" b="1" dirty="0" err="1">
              <a:solidFill>
                <a:srgbClr val="FFC00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8C0897-6722-4EF9-9A4E-188644585132}"/>
              </a:ext>
            </a:extLst>
          </p:cNvPr>
          <p:cNvSpPr txBox="1"/>
          <p:nvPr/>
        </p:nvSpPr>
        <p:spPr>
          <a:xfrm>
            <a:off x="8095348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92D050"/>
                </a:solidFill>
                <a:latin typeface="IBM Plex Sans" charset="0"/>
                <a:ea typeface="IBM Plex Sans" charset="0"/>
                <a:cs typeface="IBM Plex Sans" charset="0"/>
              </a:rPr>
              <a:t>3. Slight</a:t>
            </a:r>
            <a:endParaRPr lang="it-IT" sz="1400" b="1" dirty="0" err="1">
              <a:solidFill>
                <a:srgbClr val="92D05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B37ECF-128B-4E7C-903D-11082924523C}"/>
              </a:ext>
            </a:extLst>
          </p:cNvPr>
          <p:cNvSpPr txBox="1"/>
          <p:nvPr/>
        </p:nvSpPr>
        <p:spPr>
          <a:xfrm>
            <a:off x="233219" y="6381758"/>
            <a:ext cx="2448272" cy="2595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600" i="1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Casualty Severity Legend</a:t>
            </a:r>
            <a:endParaRPr lang="it-IT" sz="1600" i="1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8B200EE0-F6C0-4D81-86FE-8924E5B60D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47" y="2303038"/>
            <a:ext cx="5746395" cy="3108572"/>
          </a:xfrm>
          <a:prstGeom prst="rect">
            <a:avLst/>
          </a:prstGeom>
        </p:spPr>
      </p:pic>
      <p:pic>
        <p:nvPicPr>
          <p:cNvPr id="7" name="Picture 6" descr="Chart, bar chart&#10;&#10;Description automatically generated">
            <a:extLst>
              <a:ext uri="{FF2B5EF4-FFF2-40B4-BE49-F238E27FC236}">
                <a16:creationId xmlns:a16="http://schemas.microsoft.com/office/drawing/2014/main" id="{177CC73D-359D-443D-9596-DB217075DA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989" y="2303037"/>
            <a:ext cx="5803771" cy="310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2602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5CF42370-8AD9-40AD-AD82-708C96926CFF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8333B2-CEA5-4E02-83C1-18CB2C7C4477}"/>
              </a:ext>
            </a:extLst>
          </p:cNvPr>
          <p:cNvSpPr txBox="1"/>
          <p:nvPr/>
        </p:nvSpPr>
        <p:spPr>
          <a:xfrm>
            <a:off x="623392" y="1772816"/>
            <a:ext cx="9937104" cy="4032448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CD88BC4-F7DF-4E6F-833E-FBE69745D7C2}"/>
              </a:ext>
            </a:extLst>
          </p:cNvPr>
          <p:cNvSpPr txBox="1">
            <a:spLocks/>
          </p:cNvSpPr>
          <p:nvPr/>
        </p:nvSpPr>
        <p:spPr>
          <a:xfrm>
            <a:off x="479376" y="289109"/>
            <a:ext cx="10007600" cy="1079500"/>
          </a:xfrm>
          <a:prstGeom prst="rect">
            <a:avLst/>
          </a:prstGeom>
        </p:spPr>
        <p:txBody>
          <a:bodyPr/>
          <a:lstStyle>
            <a:lvl1pPr marL="0" indent="0" algn="l" defTabSz="914363" rtl="0" eaLnBrk="1" latinLnBrk="0" hangingPunct="1">
              <a:lnSpc>
                <a:spcPct val="105000"/>
              </a:lnSpc>
              <a:spcBef>
                <a:spcPts val="1000"/>
              </a:spcBef>
              <a:buFontTx/>
              <a:buNone/>
              <a:tabLst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190492" indent="-190492" algn="l" defTabSz="914363" rtl="0" eaLnBrk="1" latinLnBrk="0" hangingPunct="1">
              <a:lnSpc>
                <a:spcPct val="105000"/>
              </a:lnSpc>
              <a:spcBef>
                <a:spcPts val="833"/>
              </a:spcBef>
              <a:buFont typeface="LucidaGrande" charset="0"/>
              <a:buChar char="-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2pPr>
            <a:lvl3pPr marL="380985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3pPr>
            <a:lvl4pPr marL="571477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Font typeface=".AppleSystemUIFont" charset="-120"/>
              <a:buChar char="–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4pPr>
            <a:lvl5pPr marL="761970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/>
              <a:t>N° of accidents by Casualty Severity and other critical variables</a:t>
            </a:r>
            <a:endParaRPr lang="it-IT" sz="115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6EE8BD-AE42-44E7-B443-B5B55CA95DFC}"/>
              </a:ext>
            </a:extLst>
          </p:cNvPr>
          <p:cNvSpPr txBox="1"/>
          <p:nvPr/>
        </p:nvSpPr>
        <p:spPr>
          <a:xfrm>
            <a:off x="9984432" y="1646802"/>
            <a:ext cx="2880320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050" dirty="0">
                <a:latin typeface="IBM Plex Sans" charset="0"/>
                <a:ea typeface="IBM Plex Sans" charset="0"/>
                <a:cs typeface="IBM Plex Sans" charset="0"/>
              </a:rPr>
              <a:t>For data type info check the report</a:t>
            </a:r>
            <a:endParaRPr lang="it-IT" sz="1600" dirty="0" err="1"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651192-DE4C-4170-B83C-4DDA79996118}"/>
              </a:ext>
            </a:extLst>
          </p:cNvPr>
          <p:cNvSpPr txBox="1"/>
          <p:nvPr/>
        </p:nvSpPr>
        <p:spPr>
          <a:xfrm>
            <a:off x="3008629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C00000"/>
                </a:solidFill>
                <a:latin typeface="IBM Plex Sans" charset="0"/>
                <a:ea typeface="IBM Plex Sans" charset="0"/>
                <a:cs typeface="IBM Plex Sans" charset="0"/>
              </a:rPr>
              <a:t>1. Fatal</a:t>
            </a:r>
            <a:endParaRPr lang="it-IT" sz="1400" b="1" dirty="0" err="1">
              <a:solidFill>
                <a:srgbClr val="C0000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92DCEBD-1D98-48D1-B715-3122F3E262CF}"/>
              </a:ext>
            </a:extLst>
          </p:cNvPr>
          <p:cNvSpPr txBox="1"/>
          <p:nvPr/>
        </p:nvSpPr>
        <p:spPr>
          <a:xfrm>
            <a:off x="5551989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FFC000"/>
                </a:solidFill>
                <a:latin typeface="IBM Plex Sans" charset="0"/>
                <a:ea typeface="IBM Plex Sans" charset="0"/>
                <a:cs typeface="IBM Plex Sans" charset="0"/>
              </a:rPr>
              <a:t>2. Serious</a:t>
            </a:r>
            <a:endParaRPr lang="it-IT" sz="1400" b="1" dirty="0" err="1">
              <a:solidFill>
                <a:srgbClr val="FFC00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8C0897-6722-4EF9-9A4E-188644585132}"/>
              </a:ext>
            </a:extLst>
          </p:cNvPr>
          <p:cNvSpPr txBox="1"/>
          <p:nvPr/>
        </p:nvSpPr>
        <p:spPr>
          <a:xfrm>
            <a:off x="8095348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92D050"/>
                </a:solidFill>
                <a:latin typeface="IBM Plex Sans" charset="0"/>
                <a:ea typeface="IBM Plex Sans" charset="0"/>
                <a:cs typeface="IBM Plex Sans" charset="0"/>
              </a:rPr>
              <a:t>3. Slight</a:t>
            </a:r>
            <a:endParaRPr lang="it-IT" sz="1400" b="1" dirty="0" err="1">
              <a:solidFill>
                <a:srgbClr val="92D05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B37ECF-128B-4E7C-903D-11082924523C}"/>
              </a:ext>
            </a:extLst>
          </p:cNvPr>
          <p:cNvSpPr txBox="1"/>
          <p:nvPr/>
        </p:nvSpPr>
        <p:spPr>
          <a:xfrm>
            <a:off x="233219" y="6381758"/>
            <a:ext cx="2448272" cy="2595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600" i="1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Casualty Severity Legend</a:t>
            </a:r>
            <a:endParaRPr lang="it-IT" sz="1600" i="1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8171ABA8-268B-416E-9D36-C27CF3EF45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30" y="2492896"/>
            <a:ext cx="5477914" cy="3168352"/>
          </a:xfrm>
          <a:prstGeom prst="rect">
            <a:avLst/>
          </a:prstGeom>
        </p:spPr>
      </p:pic>
      <p:pic>
        <p:nvPicPr>
          <p:cNvPr id="9" name="Picture 8" descr="Chart, bar chart&#10;&#10;Description automatically generated">
            <a:extLst>
              <a:ext uri="{FF2B5EF4-FFF2-40B4-BE49-F238E27FC236}">
                <a16:creationId xmlns:a16="http://schemas.microsoft.com/office/drawing/2014/main" id="{BC36B68F-83BF-42CA-A668-6574799093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6214" y="2492896"/>
            <a:ext cx="6046410" cy="3168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9194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EADF204-F424-4FB6-A722-711F8750068D}"/>
              </a:ext>
            </a:extLst>
          </p:cNvPr>
          <p:cNvSpPr txBox="1"/>
          <p:nvPr/>
        </p:nvSpPr>
        <p:spPr>
          <a:xfrm>
            <a:off x="119336" y="548680"/>
            <a:ext cx="3143672" cy="27363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K-nearest neighbor classification model</a:t>
            </a:r>
            <a:endParaRPr lang="it-IT" sz="24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02D9A76-6EFB-4D0C-A135-0C8AF66A928B}"/>
              </a:ext>
            </a:extLst>
          </p:cNvPr>
          <p:cNvGrpSpPr/>
          <p:nvPr/>
        </p:nvGrpSpPr>
        <p:grpSpPr>
          <a:xfrm>
            <a:off x="4727848" y="55577"/>
            <a:ext cx="5328592" cy="6779773"/>
            <a:chOff x="6632443" y="-12509"/>
            <a:chExt cx="5540220" cy="6870509"/>
          </a:xfrm>
        </p:grpSpPr>
        <p:pic>
          <p:nvPicPr>
            <p:cNvPr id="4" name="Picture 3" descr="Table&#10;&#10;Description automatically generated">
              <a:extLst>
                <a:ext uri="{FF2B5EF4-FFF2-40B4-BE49-F238E27FC236}">
                  <a16:creationId xmlns:a16="http://schemas.microsoft.com/office/drawing/2014/main" id="{F92BC940-54B0-476F-8E1D-E79108A56C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2443" y="4960456"/>
              <a:ext cx="4732430" cy="1897544"/>
            </a:xfrm>
            <a:prstGeom prst="rect">
              <a:avLst/>
            </a:prstGeom>
          </p:spPr>
        </p:pic>
        <p:pic>
          <p:nvPicPr>
            <p:cNvPr id="6" name="Picture 5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08E05599-2EA7-43F7-AC82-D9DA8FF8CA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2443" y="-12509"/>
              <a:ext cx="5540220" cy="5052498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48868B8D-827A-40BB-B206-96597DD82D66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17201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EADF204-F424-4FB6-A722-711F8750068D}"/>
              </a:ext>
            </a:extLst>
          </p:cNvPr>
          <p:cNvSpPr txBox="1"/>
          <p:nvPr/>
        </p:nvSpPr>
        <p:spPr>
          <a:xfrm>
            <a:off x="119336" y="548680"/>
            <a:ext cx="3143672" cy="27363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rPr>
              <a:t>Decision tree classification model</a:t>
            </a:r>
            <a:endParaRPr lang="it-IT" sz="24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868B8D-827A-40BB-B206-96597DD82D66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C958ABC-8821-4CAF-8D61-F5C827217958}"/>
              </a:ext>
            </a:extLst>
          </p:cNvPr>
          <p:cNvGrpSpPr/>
          <p:nvPr/>
        </p:nvGrpSpPr>
        <p:grpSpPr>
          <a:xfrm>
            <a:off x="4511824" y="124520"/>
            <a:ext cx="5700254" cy="6608960"/>
            <a:chOff x="4295800" y="0"/>
            <a:chExt cx="5700254" cy="6608960"/>
          </a:xfrm>
        </p:grpSpPr>
        <p:pic>
          <p:nvPicPr>
            <p:cNvPr id="5" name="Picture 4" descr="Chart&#10;&#10;Description automatically generated">
              <a:extLst>
                <a:ext uri="{FF2B5EF4-FFF2-40B4-BE49-F238E27FC236}">
                  <a16:creationId xmlns:a16="http://schemas.microsoft.com/office/drawing/2014/main" id="{C3ED5A0B-4C07-4862-863E-CF77A3F095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5800" y="0"/>
              <a:ext cx="5700254" cy="4892464"/>
            </a:xfrm>
            <a:prstGeom prst="rect">
              <a:avLst/>
            </a:prstGeom>
          </p:spPr>
        </p:pic>
        <p:pic>
          <p:nvPicPr>
            <p:cNvPr id="10" name="Picture 9" descr="Table&#10;&#10;Description automatically generated">
              <a:extLst>
                <a:ext uri="{FF2B5EF4-FFF2-40B4-BE49-F238E27FC236}">
                  <a16:creationId xmlns:a16="http://schemas.microsoft.com/office/drawing/2014/main" id="{DC801398-46CB-411B-BEB0-2A5ED69E6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8390" y="4955277"/>
              <a:ext cx="4679085" cy="16536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22237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FA7D99E-92E6-4DF2-8409-BAAFB6F3C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44" y="332656"/>
            <a:ext cx="4850904" cy="952500"/>
          </a:xfrm>
        </p:spPr>
        <p:txBody>
          <a:bodyPr/>
          <a:lstStyle/>
          <a:p>
            <a:r>
              <a:rPr lang="en-US" sz="4800" b="1" dirty="0"/>
              <a:t>Observations</a:t>
            </a:r>
            <a:r>
              <a:rPr lang="en-US" sz="5400" b="1" dirty="0"/>
              <a:t> </a:t>
            </a:r>
            <a:br>
              <a:rPr lang="en-US" sz="5400" b="1" dirty="0"/>
            </a:br>
            <a:endParaRPr lang="it-IT" sz="54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5EB742-9CAC-4559-8012-9ADBCA4DE3F0}"/>
              </a:ext>
            </a:extLst>
          </p:cNvPr>
          <p:cNvSpPr txBox="1"/>
          <p:nvPr/>
        </p:nvSpPr>
        <p:spPr>
          <a:xfrm>
            <a:off x="0" y="6237312"/>
            <a:ext cx="12072664" cy="620688"/>
          </a:xfrm>
          <a:prstGeom prst="rect">
            <a:avLst/>
          </a:prstGeom>
          <a:solidFill>
            <a:srgbClr val="0F6DFF"/>
          </a:solidFill>
        </p:spPr>
        <p:txBody>
          <a:bodyPr wrap="squar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1D0F7D-5C69-46C6-873A-349E7158986F}"/>
              </a:ext>
            </a:extLst>
          </p:cNvPr>
          <p:cNvSpPr txBox="1"/>
          <p:nvPr/>
        </p:nvSpPr>
        <p:spPr>
          <a:xfrm>
            <a:off x="132926" y="1861457"/>
            <a:ext cx="5112568" cy="4807903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2800" dirty="0">
                <a:latin typeface="IBM Plex Sans" charset="0"/>
                <a:ea typeface="IBM Plex Sans" charset="0"/>
                <a:cs typeface="IBM Plex Sans" charset="0"/>
              </a:rPr>
              <a:t>Most car accidents occurred under “optimal” driving conditions</a:t>
            </a:r>
          </a:p>
          <a:p>
            <a:pPr>
              <a:lnSpc>
                <a:spcPct val="105000"/>
              </a:lnSpc>
              <a:spcBef>
                <a:spcPts val="1000"/>
              </a:spcBef>
            </a:pPr>
            <a:endParaRPr lang="en-US" sz="28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514350" indent="-514350">
              <a:lnSpc>
                <a:spcPct val="105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000" dirty="0">
                <a:latin typeface="IBM Plex Sans" charset="0"/>
                <a:ea typeface="IBM Plex Sans" charset="0"/>
                <a:cs typeface="IBM Plex Sans" charset="0"/>
              </a:rPr>
              <a:t>Dry road conditions </a:t>
            </a:r>
          </a:p>
          <a:p>
            <a:pPr marL="514350" indent="-514350">
              <a:lnSpc>
                <a:spcPct val="105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000" dirty="0">
                <a:latin typeface="IBM Plex Sans" charset="0"/>
                <a:ea typeface="IBM Plex Sans" charset="0"/>
                <a:cs typeface="IBM Plex Sans" charset="0"/>
              </a:rPr>
              <a:t>Fine weather, without high winds</a:t>
            </a:r>
          </a:p>
          <a:p>
            <a:pPr marL="514350" indent="-514350">
              <a:lnSpc>
                <a:spcPct val="105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000" dirty="0">
                <a:latin typeface="IBM Plex Sans" charset="0"/>
                <a:ea typeface="IBM Plex Sans" charset="0"/>
                <a:cs typeface="IBM Plex Sans" charset="0"/>
              </a:rPr>
              <a:t>Good lighting conditions</a:t>
            </a:r>
          </a:p>
          <a:p>
            <a:pPr marL="514350" indent="-514350">
              <a:lnSpc>
                <a:spcPct val="105000"/>
              </a:lnSpc>
              <a:spcBef>
                <a:spcPts val="1000"/>
              </a:spcBef>
              <a:buFont typeface="+mj-lt"/>
              <a:buAutoNum type="arabicPeriod"/>
            </a:pPr>
            <a:endParaRPr lang="en-US" sz="20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514350" indent="-514350">
              <a:lnSpc>
                <a:spcPct val="105000"/>
              </a:lnSpc>
              <a:spcBef>
                <a:spcPts val="1000"/>
              </a:spcBef>
              <a:buFont typeface="+mj-lt"/>
              <a:buAutoNum type="arabicPeriod"/>
            </a:pPr>
            <a:endParaRPr lang="en-US" sz="20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it-IT" sz="2000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909E0737-C37F-445E-8882-34C7F3C46DA7}"/>
              </a:ext>
            </a:extLst>
          </p:cNvPr>
          <p:cNvSpPr txBox="1">
            <a:spLocks/>
          </p:cNvSpPr>
          <p:nvPr/>
        </p:nvSpPr>
        <p:spPr>
          <a:xfrm>
            <a:off x="5591944" y="332656"/>
            <a:ext cx="6291064" cy="9525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i="0" kern="1200">
                <a:solidFill>
                  <a:schemeClr val="bg2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</a:lstStyle>
          <a:p>
            <a:pPr algn="r"/>
            <a:r>
              <a:rPr lang="en-US" sz="4800" b="1" dirty="0"/>
              <a:t>Recommendations </a:t>
            </a:r>
            <a:br>
              <a:rPr lang="en-US" sz="4800" b="1" dirty="0"/>
            </a:br>
            <a:endParaRPr lang="it-IT" sz="48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B64FB5-DF16-4515-B8FA-3160E811C7EF}"/>
              </a:ext>
            </a:extLst>
          </p:cNvPr>
          <p:cNvSpPr txBox="1"/>
          <p:nvPr/>
        </p:nvSpPr>
        <p:spPr>
          <a:xfrm>
            <a:off x="6181192" y="1916832"/>
            <a:ext cx="5112568" cy="4752528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2800" dirty="0">
                <a:latin typeface="IBM Plex Sans" charset="0"/>
                <a:ea typeface="IBM Plex Sans" charset="0"/>
                <a:cs typeface="IBM Plex Sans" charset="0"/>
              </a:rPr>
              <a:t>Additional attributes could be tracked to better predict car accidents</a:t>
            </a:r>
            <a:br>
              <a:rPr lang="en-US" sz="2800" dirty="0">
                <a:latin typeface="IBM Plex Sans" charset="0"/>
                <a:ea typeface="IBM Plex Sans" charset="0"/>
                <a:cs typeface="IBM Plex Sans" charset="0"/>
              </a:rPr>
            </a:br>
            <a:endParaRPr lang="en-US" sz="28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514350" indent="-514350">
              <a:spcBef>
                <a:spcPts val="1000"/>
              </a:spcBef>
              <a:buFont typeface="+mj-lt"/>
              <a:buAutoNum type="arabicPeriod"/>
            </a:pPr>
            <a:r>
              <a:rPr lang="en-US" sz="2000" dirty="0">
                <a:latin typeface="IBM Plex Sans" charset="0"/>
                <a:ea typeface="IBM Plex Sans" charset="0"/>
                <a:cs typeface="IBM Plex Sans" charset="0"/>
              </a:rPr>
              <a:t>Traffic conditions in specific road section</a:t>
            </a:r>
          </a:p>
          <a:p>
            <a:pPr marL="514350" indent="-514350">
              <a:spcBef>
                <a:spcPts val="1000"/>
              </a:spcBef>
              <a:buFont typeface="+mj-lt"/>
              <a:buAutoNum type="arabicPeriod"/>
            </a:pPr>
            <a:r>
              <a:rPr lang="en-US" sz="2000" dirty="0">
                <a:latin typeface="IBM Plex Sans" charset="0"/>
                <a:ea typeface="IBM Plex Sans" charset="0"/>
                <a:cs typeface="IBM Plex Sans" charset="0"/>
              </a:rPr>
              <a:t>Attention level of drivers (hard to measure)</a:t>
            </a:r>
          </a:p>
          <a:p>
            <a:pPr marL="514350" indent="-514350">
              <a:spcBef>
                <a:spcPts val="1000"/>
              </a:spcBef>
              <a:buFont typeface="+mj-lt"/>
              <a:buAutoNum type="arabicPeriod"/>
            </a:pPr>
            <a:r>
              <a:rPr lang="en-US" sz="2000" dirty="0">
                <a:latin typeface="IBM Plex Sans" charset="0"/>
                <a:ea typeface="IBM Plex Sans" charset="0"/>
                <a:cs typeface="IBM Plex Sans" charset="0"/>
              </a:rPr>
              <a:t>Speed of car at time of crash</a:t>
            </a:r>
          </a:p>
          <a:p>
            <a:pPr marL="514350" indent="-514350">
              <a:spcBef>
                <a:spcPts val="1000"/>
              </a:spcBef>
              <a:buFont typeface="+mj-lt"/>
              <a:buAutoNum type="arabicPeriod"/>
            </a:pPr>
            <a:r>
              <a:rPr lang="en-US" sz="2000" dirty="0">
                <a:latin typeface="IBM Plex Sans" charset="0"/>
                <a:ea typeface="IBM Plex Sans" charset="0"/>
                <a:cs typeface="IBM Plex Sans" charset="0"/>
              </a:rPr>
              <a:t>Collision and junction type</a:t>
            </a:r>
          </a:p>
          <a:p>
            <a:pPr marL="514350" indent="-514350">
              <a:spcBef>
                <a:spcPts val="1000"/>
              </a:spcBef>
              <a:buFont typeface="+mj-lt"/>
              <a:buAutoNum type="arabicPeriod"/>
            </a:pPr>
            <a:r>
              <a:rPr lang="en-US" sz="2000" dirty="0">
                <a:latin typeface="IBM Plex Sans" charset="0"/>
                <a:ea typeface="IBM Plex Sans" charset="0"/>
                <a:cs typeface="IBM Plex Sans" charset="0"/>
              </a:rPr>
              <a:t>Expanding severity class</a:t>
            </a:r>
          </a:p>
          <a:p>
            <a:pPr marL="514350" indent="-514350">
              <a:lnSpc>
                <a:spcPct val="105000"/>
              </a:lnSpc>
              <a:spcBef>
                <a:spcPts val="1000"/>
              </a:spcBef>
              <a:buFont typeface="+mj-lt"/>
              <a:buAutoNum type="arabicPeriod"/>
            </a:pPr>
            <a:endParaRPr lang="en-US" sz="2000" dirty="0">
              <a:latin typeface="IBM Plex Sans" charset="0"/>
              <a:ea typeface="IBM Plex Sans" charset="0"/>
              <a:cs typeface="IBM Plex Sans" charset="0"/>
            </a:endParaRP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it-IT" sz="2000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7025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8D95FB-7CEC-4AE2-8052-1432090FDC1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9376" y="404664"/>
            <a:ext cx="10007600" cy="1079500"/>
          </a:xfrm>
          <a:prstGeom prst="rect">
            <a:avLst/>
          </a:prstGeom>
        </p:spPr>
        <p:txBody>
          <a:bodyPr/>
          <a:lstStyle/>
          <a:p>
            <a:r>
              <a:rPr lang="en-US" sz="5400" dirty="0"/>
              <a:t>Preventing car accidents</a:t>
            </a:r>
            <a:endParaRPr lang="it-IT" sz="5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8333B2-CEA5-4E02-83C1-18CB2C7C4477}"/>
              </a:ext>
            </a:extLst>
          </p:cNvPr>
          <p:cNvSpPr txBox="1"/>
          <p:nvPr/>
        </p:nvSpPr>
        <p:spPr>
          <a:xfrm>
            <a:off x="695400" y="2492896"/>
            <a:ext cx="4896544" cy="3024336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b="1" dirty="0">
                <a:solidFill>
                  <a:srgbClr val="00B050"/>
                </a:solidFill>
                <a:latin typeface="IBM Plex Sans" charset="0"/>
                <a:ea typeface="IBM Plex Sans" charset="0"/>
                <a:cs typeface="IBM Plex Sans" charset="0"/>
              </a:rPr>
              <a:t>ADVANTAGES</a:t>
            </a: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IBM Plex Sans" charset="0"/>
                <a:ea typeface="IBM Plex Sans" charset="0"/>
                <a:cs typeface="IBM Plex Sans" charset="0"/>
              </a:rPr>
              <a:t>Citizen Psychological Safety</a:t>
            </a: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IBM Plex Sans" charset="0"/>
                <a:ea typeface="IBM Plex Sans" charset="0"/>
                <a:cs typeface="IBM Plex Sans" charset="0"/>
              </a:rPr>
              <a:t>Less expenditure on road maintenance</a:t>
            </a: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Better managing of county/region/state resources</a:t>
            </a:r>
            <a:endParaRPr lang="it-IT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8A6752-DF78-4238-A9C9-B2787E24A935}"/>
              </a:ext>
            </a:extLst>
          </p:cNvPr>
          <p:cNvSpPr txBox="1"/>
          <p:nvPr/>
        </p:nvSpPr>
        <p:spPr>
          <a:xfrm>
            <a:off x="6456040" y="2492896"/>
            <a:ext cx="4896544" cy="3024336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b="1" dirty="0">
                <a:solidFill>
                  <a:srgbClr val="00B050"/>
                </a:solidFill>
                <a:latin typeface="IBM Plex Sans" charset="0"/>
                <a:ea typeface="IBM Plex Sans" charset="0"/>
                <a:cs typeface="IBM Plex Sans" charset="0"/>
              </a:rPr>
              <a:t>OBJECTIVES</a:t>
            </a: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IBM Plex Sans" charset="0"/>
              </a:rPr>
              <a:t>Gather insights on car accidents and road safety</a:t>
            </a: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IBM Plex Sans" charset="0"/>
              </a:rPr>
              <a:t>Analyze impact of variables on car accidents</a:t>
            </a:r>
            <a:endParaRPr lang="it-IT" dirty="0">
              <a:latin typeface="IBM Plex Sans" charset="0"/>
            </a:endParaRP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IBM Plex Sans" charset="0"/>
              </a:rPr>
              <a:t>Suggest actions to take</a:t>
            </a:r>
            <a:endParaRPr lang="it-IT" dirty="0" err="1">
              <a:latin typeface="IBM Plex Sans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4FBDD0-4A47-467D-91DC-4CDCA9526BA2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7573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8D95FB-7CEC-4AE2-8052-1432090FDC1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9376" y="332656"/>
            <a:ext cx="10007600" cy="1079500"/>
          </a:xfrm>
          <a:prstGeom prst="rect">
            <a:avLst/>
          </a:prstGeom>
        </p:spPr>
        <p:txBody>
          <a:bodyPr/>
          <a:lstStyle/>
          <a:p>
            <a:r>
              <a:rPr lang="en-US" sz="5400" dirty="0"/>
              <a:t>Data Overview</a:t>
            </a:r>
            <a:endParaRPr lang="it-IT" sz="5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8333B2-CEA5-4E02-83C1-18CB2C7C4477}"/>
              </a:ext>
            </a:extLst>
          </p:cNvPr>
          <p:cNvSpPr txBox="1"/>
          <p:nvPr/>
        </p:nvSpPr>
        <p:spPr>
          <a:xfrm>
            <a:off x="623392" y="2391519"/>
            <a:ext cx="9937104" cy="4032448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IBM Plex Sans" charset="0"/>
              </a:rPr>
              <a:t>2019 annual report on road traffic collisions and casualties on public roads in Leeds, UK. </a:t>
            </a:r>
            <a:r>
              <a:rPr lang="en-US" dirty="0">
                <a:latin typeface="IBM Plex Sans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ata.gov.uk/dataset/6efe5505-941f-45bf-b576-4c1e09b579a1/road-traffic-accidents</a:t>
            </a:r>
            <a:endParaRPr lang="en-US" dirty="0">
              <a:latin typeface="IBM Plex Sans" charset="0"/>
            </a:endParaRP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IBM Plex Sans" charset="0"/>
              </a:rPr>
              <a:t>Total of 1907 rows of data and 18 variables</a:t>
            </a: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IBM Plex Sans" charset="0"/>
              </a:rPr>
              <a:t>Data cleaning was performed (variables picking, looking for null variables and so on)</a:t>
            </a: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BDA50F-9E7E-41A8-B7BE-1A7CC93E3722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573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8D95FB-7CEC-4AE2-8052-1432090FDC1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9376" y="332656"/>
            <a:ext cx="10007600" cy="1079500"/>
          </a:xfrm>
          <a:prstGeom prst="rect">
            <a:avLst/>
          </a:prstGeom>
        </p:spPr>
        <p:txBody>
          <a:bodyPr/>
          <a:lstStyle/>
          <a:p>
            <a:r>
              <a:rPr lang="en-US" sz="5400" dirty="0"/>
              <a:t>Data Science Methodology</a:t>
            </a:r>
            <a:endParaRPr lang="it-IT" sz="5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BDA50F-9E7E-41A8-B7BE-1A7CC93E3722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6" name="Picture 5" descr="Data Science Methodology and Approach - GeeksforGeeks">
            <a:extLst>
              <a:ext uri="{FF2B5EF4-FFF2-40B4-BE49-F238E27FC236}">
                <a16:creationId xmlns:a16="http://schemas.microsoft.com/office/drawing/2014/main" id="{B490014A-B895-4226-9955-805CB88E26E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656" y="2492896"/>
            <a:ext cx="5731510" cy="38404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56895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98333B2-CEA5-4E02-83C1-18CB2C7C4477}"/>
              </a:ext>
            </a:extLst>
          </p:cNvPr>
          <p:cNvSpPr txBox="1"/>
          <p:nvPr/>
        </p:nvSpPr>
        <p:spPr>
          <a:xfrm>
            <a:off x="623392" y="1772816"/>
            <a:ext cx="9937104" cy="4032448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BDA50F-9E7E-41A8-B7BE-1A7CC93E3722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CD88BC4-F7DF-4E6F-833E-FBE69745D7C2}"/>
              </a:ext>
            </a:extLst>
          </p:cNvPr>
          <p:cNvSpPr txBox="1">
            <a:spLocks/>
          </p:cNvSpPr>
          <p:nvPr/>
        </p:nvSpPr>
        <p:spPr>
          <a:xfrm>
            <a:off x="479376" y="332656"/>
            <a:ext cx="10007600" cy="1079500"/>
          </a:xfrm>
          <a:prstGeom prst="rect">
            <a:avLst/>
          </a:prstGeom>
        </p:spPr>
        <p:txBody>
          <a:bodyPr/>
          <a:lstStyle>
            <a:lvl1pPr marL="0" indent="0" algn="l" defTabSz="914363" rtl="0" eaLnBrk="1" latinLnBrk="0" hangingPunct="1">
              <a:lnSpc>
                <a:spcPct val="105000"/>
              </a:lnSpc>
              <a:spcBef>
                <a:spcPts val="1000"/>
              </a:spcBef>
              <a:buFontTx/>
              <a:buNone/>
              <a:tabLst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190492" indent="-190492" algn="l" defTabSz="914363" rtl="0" eaLnBrk="1" latinLnBrk="0" hangingPunct="1">
              <a:lnSpc>
                <a:spcPct val="105000"/>
              </a:lnSpc>
              <a:spcBef>
                <a:spcPts val="833"/>
              </a:spcBef>
              <a:buFont typeface="LucidaGrande" charset="0"/>
              <a:buChar char="-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2pPr>
            <a:lvl3pPr marL="380985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3pPr>
            <a:lvl4pPr marL="571477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Font typeface=".AppleSystemUIFont" charset="-120"/>
              <a:buChar char="–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4pPr>
            <a:lvl5pPr marL="761970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/>
              <a:t>N° of accidents by lighting, weather and road surface conditions</a:t>
            </a:r>
            <a:endParaRPr lang="it-IT" sz="11500" dirty="0"/>
          </a:p>
        </p:txBody>
      </p:sp>
      <p:pic>
        <p:nvPicPr>
          <p:cNvPr id="9" name="Picture 8" descr="Chart, waterfall chart&#10;&#10;Description automatically generated">
            <a:extLst>
              <a:ext uri="{FF2B5EF4-FFF2-40B4-BE49-F238E27FC236}">
                <a16:creationId xmlns:a16="http://schemas.microsoft.com/office/drawing/2014/main" id="{B5A3D7DD-1146-4E1C-BD09-509C377AECE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696" y="2060848"/>
            <a:ext cx="5151120" cy="446449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373DF06-9C3A-4606-B152-448406701BA7}"/>
              </a:ext>
            </a:extLst>
          </p:cNvPr>
          <p:cNvSpPr txBox="1"/>
          <p:nvPr/>
        </p:nvSpPr>
        <p:spPr>
          <a:xfrm>
            <a:off x="9984432" y="1646802"/>
            <a:ext cx="2880320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050" dirty="0">
                <a:latin typeface="IBM Plex Sans" charset="0"/>
                <a:ea typeface="IBM Plex Sans" charset="0"/>
                <a:cs typeface="IBM Plex Sans" charset="0"/>
              </a:rPr>
              <a:t>For data type info check the report</a:t>
            </a:r>
            <a:endParaRPr lang="it-IT" sz="1600" dirty="0" err="1"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8283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98333B2-CEA5-4E02-83C1-18CB2C7C4477}"/>
              </a:ext>
            </a:extLst>
          </p:cNvPr>
          <p:cNvSpPr txBox="1"/>
          <p:nvPr/>
        </p:nvSpPr>
        <p:spPr>
          <a:xfrm>
            <a:off x="623392" y="1772816"/>
            <a:ext cx="9937104" cy="4032448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BDA50F-9E7E-41A8-B7BE-1A7CC93E3722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CD88BC4-F7DF-4E6F-833E-FBE69745D7C2}"/>
              </a:ext>
            </a:extLst>
          </p:cNvPr>
          <p:cNvSpPr txBox="1">
            <a:spLocks/>
          </p:cNvSpPr>
          <p:nvPr/>
        </p:nvSpPr>
        <p:spPr>
          <a:xfrm>
            <a:off x="479376" y="332656"/>
            <a:ext cx="10007600" cy="1079500"/>
          </a:xfrm>
          <a:prstGeom prst="rect">
            <a:avLst/>
          </a:prstGeom>
        </p:spPr>
        <p:txBody>
          <a:bodyPr/>
          <a:lstStyle>
            <a:lvl1pPr marL="0" indent="0" algn="l" defTabSz="914363" rtl="0" eaLnBrk="1" latinLnBrk="0" hangingPunct="1">
              <a:lnSpc>
                <a:spcPct val="105000"/>
              </a:lnSpc>
              <a:spcBef>
                <a:spcPts val="1000"/>
              </a:spcBef>
              <a:buFontTx/>
              <a:buNone/>
              <a:tabLst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190492" indent="-190492" algn="l" defTabSz="914363" rtl="0" eaLnBrk="1" latinLnBrk="0" hangingPunct="1">
              <a:lnSpc>
                <a:spcPct val="105000"/>
              </a:lnSpc>
              <a:spcBef>
                <a:spcPts val="833"/>
              </a:spcBef>
              <a:buFont typeface="LucidaGrande" charset="0"/>
              <a:buChar char="-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2pPr>
            <a:lvl3pPr marL="380985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3pPr>
            <a:lvl4pPr marL="571477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Font typeface=".AppleSystemUIFont" charset="-120"/>
              <a:buChar char="–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4pPr>
            <a:lvl5pPr marL="761970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/>
              <a:t>N° of accidents by vehicle type road and casualty class</a:t>
            </a:r>
            <a:endParaRPr lang="it-IT" sz="11500" dirty="0"/>
          </a:p>
        </p:txBody>
      </p:sp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D6E11257-6CE8-430B-AFBC-8C72E2076177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325" y="1916832"/>
            <a:ext cx="4959350" cy="469189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CE72281-6A41-4967-92A2-48D4666D7A57}"/>
              </a:ext>
            </a:extLst>
          </p:cNvPr>
          <p:cNvSpPr txBox="1"/>
          <p:nvPr/>
        </p:nvSpPr>
        <p:spPr>
          <a:xfrm>
            <a:off x="9984432" y="1646802"/>
            <a:ext cx="2880320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050" dirty="0">
                <a:latin typeface="IBM Plex Sans" charset="0"/>
                <a:ea typeface="IBM Plex Sans" charset="0"/>
                <a:cs typeface="IBM Plex Sans" charset="0"/>
              </a:rPr>
              <a:t>For data type info check the report</a:t>
            </a:r>
            <a:endParaRPr lang="it-IT" sz="1600" dirty="0" err="1"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0218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98333B2-CEA5-4E02-83C1-18CB2C7C4477}"/>
              </a:ext>
            </a:extLst>
          </p:cNvPr>
          <p:cNvSpPr txBox="1"/>
          <p:nvPr/>
        </p:nvSpPr>
        <p:spPr>
          <a:xfrm>
            <a:off x="623392" y="1772816"/>
            <a:ext cx="9937104" cy="4032448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BDA50F-9E7E-41A8-B7BE-1A7CC93E3722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CD88BC4-F7DF-4E6F-833E-FBE69745D7C2}"/>
              </a:ext>
            </a:extLst>
          </p:cNvPr>
          <p:cNvSpPr txBox="1">
            <a:spLocks/>
          </p:cNvSpPr>
          <p:nvPr/>
        </p:nvSpPr>
        <p:spPr>
          <a:xfrm>
            <a:off x="479376" y="289109"/>
            <a:ext cx="10007600" cy="1079500"/>
          </a:xfrm>
          <a:prstGeom prst="rect">
            <a:avLst/>
          </a:prstGeom>
        </p:spPr>
        <p:txBody>
          <a:bodyPr/>
          <a:lstStyle>
            <a:lvl1pPr marL="0" indent="0" algn="l" defTabSz="914363" rtl="0" eaLnBrk="1" latinLnBrk="0" hangingPunct="1">
              <a:lnSpc>
                <a:spcPct val="105000"/>
              </a:lnSpc>
              <a:spcBef>
                <a:spcPts val="1000"/>
              </a:spcBef>
              <a:buFontTx/>
              <a:buNone/>
              <a:tabLst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190492" indent="-190492" algn="l" defTabSz="914363" rtl="0" eaLnBrk="1" latinLnBrk="0" hangingPunct="1">
              <a:lnSpc>
                <a:spcPct val="105000"/>
              </a:lnSpc>
              <a:spcBef>
                <a:spcPts val="833"/>
              </a:spcBef>
              <a:buFont typeface="LucidaGrande" charset="0"/>
              <a:buChar char="-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2pPr>
            <a:lvl3pPr marL="380985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3pPr>
            <a:lvl4pPr marL="571477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Font typeface=".AppleSystemUIFont" charset="-120"/>
              <a:buChar char="–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4pPr>
            <a:lvl5pPr marL="761970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/>
              <a:t>N° of accidents by sex, age of casualty and number of vehicles involved</a:t>
            </a:r>
            <a:endParaRPr lang="it-IT" sz="11500" dirty="0"/>
          </a:p>
        </p:txBody>
      </p:sp>
      <p:pic>
        <p:nvPicPr>
          <p:cNvPr id="9" name="Picture 8" descr="Chart, bar chart&#10;&#10;Description automatically generated">
            <a:extLst>
              <a:ext uri="{FF2B5EF4-FFF2-40B4-BE49-F238E27FC236}">
                <a16:creationId xmlns:a16="http://schemas.microsoft.com/office/drawing/2014/main" id="{0256F18E-E3C0-4B7F-94E3-03C8C46CC0B3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39" y="4545124"/>
            <a:ext cx="5560913" cy="2106234"/>
          </a:xfrm>
          <a:prstGeom prst="rect">
            <a:avLst/>
          </a:prstGeom>
        </p:spPr>
      </p:pic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7663F9F8-0A69-4B11-A6D5-6D05EB17034B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755" y="2134798"/>
            <a:ext cx="5616624" cy="2132713"/>
          </a:xfrm>
          <a:prstGeom prst="rect">
            <a:avLst/>
          </a:prstGeom>
        </p:spPr>
      </p:pic>
      <p:pic>
        <p:nvPicPr>
          <p:cNvPr id="11" name="Picture 10" descr="Chart, bar chart&#10;&#10;Description automatically generated">
            <a:extLst>
              <a:ext uri="{FF2B5EF4-FFF2-40B4-BE49-F238E27FC236}">
                <a16:creationId xmlns:a16="http://schemas.microsoft.com/office/drawing/2014/main" id="{E0B9756D-5B10-4F01-AA59-EC5C0CCD064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331" y="4430065"/>
            <a:ext cx="5616623" cy="207564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76EE8BD-AE42-44E7-B443-B5B55CA95DFC}"/>
              </a:ext>
            </a:extLst>
          </p:cNvPr>
          <p:cNvSpPr txBox="1"/>
          <p:nvPr/>
        </p:nvSpPr>
        <p:spPr>
          <a:xfrm>
            <a:off x="9984432" y="1646802"/>
            <a:ext cx="2880320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050" dirty="0">
                <a:latin typeface="IBM Plex Sans" charset="0"/>
                <a:ea typeface="IBM Plex Sans" charset="0"/>
                <a:cs typeface="IBM Plex Sans" charset="0"/>
              </a:rPr>
              <a:t>For data type info check the report</a:t>
            </a:r>
            <a:endParaRPr lang="it-IT" sz="1600" dirty="0" err="1"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447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98333B2-CEA5-4E02-83C1-18CB2C7C4477}"/>
              </a:ext>
            </a:extLst>
          </p:cNvPr>
          <p:cNvSpPr txBox="1"/>
          <p:nvPr/>
        </p:nvSpPr>
        <p:spPr>
          <a:xfrm>
            <a:off x="623392" y="1772816"/>
            <a:ext cx="9937104" cy="4032448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BDA50F-9E7E-41A8-B7BE-1A7CC93E3722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CD88BC4-F7DF-4E6F-833E-FBE69745D7C2}"/>
              </a:ext>
            </a:extLst>
          </p:cNvPr>
          <p:cNvSpPr txBox="1">
            <a:spLocks/>
          </p:cNvSpPr>
          <p:nvPr/>
        </p:nvSpPr>
        <p:spPr>
          <a:xfrm>
            <a:off x="479376" y="289109"/>
            <a:ext cx="10007600" cy="1079500"/>
          </a:xfrm>
          <a:prstGeom prst="rect">
            <a:avLst/>
          </a:prstGeom>
        </p:spPr>
        <p:txBody>
          <a:bodyPr/>
          <a:lstStyle>
            <a:lvl1pPr marL="0" indent="0" algn="l" defTabSz="914363" rtl="0" eaLnBrk="1" latinLnBrk="0" hangingPunct="1">
              <a:lnSpc>
                <a:spcPct val="105000"/>
              </a:lnSpc>
              <a:spcBef>
                <a:spcPts val="1000"/>
              </a:spcBef>
              <a:buFontTx/>
              <a:buNone/>
              <a:tabLst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190492" indent="-190492" algn="l" defTabSz="914363" rtl="0" eaLnBrk="1" latinLnBrk="0" hangingPunct="1">
              <a:lnSpc>
                <a:spcPct val="105000"/>
              </a:lnSpc>
              <a:spcBef>
                <a:spcPts val="833"/>
              </a:spcBef>
              <a:buFont typeface="LucidaGrande" charset="0"/>
              <a:buChar char="-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2pPr>
            <a:lvl3pPr marL="380985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3pPr>
            <a:lvl4pPr marL="571477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Font typeface=".AppleSystemUIFont" charset="-120"/>
              <a:buChar char="–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4pPr>
            <a:lvl5pPr marL="761970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/>
              <a:t>N° of accidents by Casualty Severity and other critical variables</a:t>
            </a:r>
            <a:endParaRPr lang="it-IT" sz="115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6EE8BD-AE42-44E7-B443-B5B55CA95DFC}"/>
              </a:ext>
            </a:extLst>
          </p:cNvPr>
          <p:cNvSpPr txBox="1"/>
          <p:nvPr/>
        </p:nvSpPr>
        <p:spPr>
          <a:xfrm>
            <a:off x="9984432" y="1646802"/>
            <a:ext cx="2880320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050" dirty="0">
                <a:latin typeface="IBM Plex Sans" charset="0"/>
                <a:ea typeface="IBM Plex Sans" charset="0"/>
                <a:cs typeface="IBM Plex Sans" charset="0"/>
              </a:rPr>
              <a:t>For data type info check the report</a:t>
            </a:r>
            <a:endParaRPr lang="it-IT" sz="1600" dirty="0" err="1"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4FB53590-1E68-4CFC-86D7-297474AF5E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48920"/>
            <a:ext cx="5821545" cy="3172368"/>
          </a:xfrm>
          <a:prstGeom prst="rect">
            <a:avLst/>
          </a:prstGeom>
        </p:spPr>
      </p:pic>
      <p:pic>
        <p:nvPicPr>
          <p:cNvPr id="7" name="Picture 6" descr="Chart, bar chart&#10;&#10;Description automatically generated">
            <a:extLst>
              <a:ext uri="{FF2B5EF4-FFF2-40B4-BE49-F238E27FC236}">
                <a16:creationId xmlns:a16="http://schemas.microsoft.com/office/drawing/2014/main" id="{72908718-110D-4885-A160-08D3BBF04C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2848920"/>
            <a:ext cx="5641626" cy="317236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E38222F-5B71-4BD5-8ED9-2FA1B44AA114}"/>
              </a:ext>
            </a:extLst>
          </p:cNvPr>
          <p:cNvSpPr txBox="1"/>
          <p:nvPr/>
        </p:nvSpPr>
        <p:spPr>
          <a:xfrm>
            <a:off x="233219" y="6368379"/>
            <a:ext cx="2448272" cy="2595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600" i="1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Casualty Severity Legend</a:t>
            </a:r>
            <a:endParaRPr lang="it-IT" sz="1600" i="1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AE3E1D-41BA-4CEF-85B0-1EA9BBD7C365}"/>
              </a:ext>
            </a:extLst>
          </p:cNvPr>
          <p:cNvSpPr txBox="1"/>
          <p:nvPr/>
        </p:nvSpPr>
        <p:spPr>
          <a:xfrm>
            <a:off x="3008629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C00000"/>
                </a:solidFill>
                <a:latin typeface="IBM Plex Sans" charset="0"/>
                <a:ea typeface="IBM Plex Sans" charset="0"/>
                <a:cs typeface="IBM Plex Sans" charset="0"/>
              </a:rPr>
              <a:t>1. Fatal</a:t>
            </a:r>
            <a:endParaRPr lang="it-IT" sz="1400" b="1" dirty="0" err="1">
              <a:solidFill>
                <a:srgbClr val="C0000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85DC25-AD26-4171-BF9D-1CC9A3C81A36}"/>
              </a:ext>
            </a:extLst>
          </p:cNvPr>
          <p:cNvSpPr txBox="1"/>
          <p:nvPr/>
        </p:nvSpPr>
        <p:spPr>
          <a:xfrm>
            <a:off x="5551989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FFC000"/>
                </a:solidFill>
                <a:latin typeface="IBM Plex Sans" charset="0"/>
                <a:ea typeface="IBM Plex Sans" charset="0"/>
                <a:cs typeface="IBM Plex Sans" charset="0"/>
              </a:rPr>
              <a:t>2. Serious</a:t>
            </a:r>
            <a:endParaRPr lang="it-IT" sz="1400" b="1" dirty="0" err="1">
              <a:solidFill>
                <a:srgbClr val="FFC00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38656B7-2C75-43D3-A2CB-1F9CC796E975}"/>
              </a:ext>
            </a:extLst>
          </p:cNvPr>
          <p:cNvSpPr txBox="1"/>
          <p:nvPr/>
        </p:nvSpPr>
        <p:spPr>
          <a:xfrm>
            <a:off x="8095348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92D050"/>
                </a:solidFill>
                <a:latin typeface="IBM Plex Sans" charset="0"/>
                <a:ea typeface="IBM Plex Sans" charset="0"/>
                <a:cs typeface="IBM Plex Sans" charset="0"/>
              </a:rPr>
              <a:t>3. Slight</a:t>
            </a:r>
            <a:endParaRPr lang="it-IT" sz="1400" b="1" dirty="0" err="1">
              <a:solidFill>
                <a:srgbClr val="92D05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020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5CF42370-8AD9-40AD-AD82-708C96926CFF}"/>
              </a:ext>
            </a:extLst>
          </p:cNvPr>
          <p:cNvSpPr txBox="1"/>
          <p:nvPr/>
        </p:nvSpPr>
        <p:spPr>
          <a:xfrm>
            <a:off x="119336" y="6237312"/>
            <a:ext cx="2880320" cy="504056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endParaRPr lang="it-IT" sz="2000" dirty="0" err="1">
              <a:solidFill>
                <a:schemeClr val="bg2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8333B2-CEA5-4E02-83C1-18CB2C7C4477}"/>
              </a:ext>
            </a:extLst>
          </p:cNvPr>
          <p:cNvSpPr txBox="1"/>
          <p:nvPr/>
        </p:nvSpPr>
        <p:spPr>
          <a:xfrm>
            <a:off x="623392" y="1772816"/>
            <a:ext cx="9937104" cy="4032448"/>
          </a:xfrm>
          <a:prstGeom prst="rect">
            <a:avLst/>
          </a:prstGeom>
        </p:spPr>
        <p:txBody>
          <a:bodyPr wrap="square" lIns="91440" tIns="45720" rIns="91440" bIns="45720" rtlCol="0">
            <a:noAutofit/>
          </a:bodyPr>
          <a:lstStyle/>
          <a:p>
            <a:pPr marL="342900" indent="-34290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dirty="0">
              <a:latin typeface="IBM Plex Sans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CD88BC4-F7DF-4E6F-833E-FBE69745D7C2}"/>
              </a:ext>
            </a:extLst>
          </p:cNvPr>
          <p:cNvSpPr txBox="1">
            <a:spLocks/>
          </p:cNvSpPr>
          <p:nvPr/>
        </p:nvSpPr>
        <p:spPr>
          <a:xfrm>
            <a:off x="479376" y="289109"/>
            <a:ext cx="10007600" cy="1079500"/>
          </a:xfrm>
          <a:prstGeom prst="rect">
            <a:avLst/>
          </a:prstGeom>
        </p:spPr>
        <p:txBody>
          <a:bodyPr/>
          <a:lstStyle>
            <a:lvl1pPr marL="0" indent="0" algn="l" defTabSz="914363" rtl="0" eaLnBrk="1" latinLnBrk="0" hangingPunct="1">
              <a:lnSpc>
                <a:spcPct val="105000"/>
              </a:lnSpc>
              <a:spcBef>
                <a:spcPts val="1000"/>
              </a:spcBef>
              <a:buFontTx/>
              <a:buNone/>
              <a:tabLst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 marL="190492" indent="-190492" algn="l" defTabSz="914363" rtl="0" eaLnBrk="1" latinLnBrk="0" hangingPunct="1">
              <a:lnSpc>
                <a:spcPct val="105000"/>
              </a:lnSpc>
              <a:spcBef>
                <a:spcPts val="833"/>
              </a:spcBef>
              <a:buFont typeface="LucidaGrande" charset="0"/>
              <a:buChar char="-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2pPr>
            <a:lvl3pPr marL="380985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3pPr>
            <a:lvl4pPr marL="571477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Font typeface=".AppleSystemUIFont" charset="-120"/>
              <a:buChar char="–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4pPr>
            <a:lvl5pPr marL="761970" indent="-190492" algn="l" defTabSz="914363" rtl="0" eaLnBrk="1" latinLnBrk="0" hangingPunct="1">
              <a:lnSpc>
                <a:spcPct val="105000"/>
              </a:lnSpc>
              <a:spcBef>
                <a:spcPts val="0"/>
              </a:spcBef>
              <a:buSzPct val="80000"/>
              <a:buFont typeface="Arial" panose="020B0604020202020204" pitchFamily="34" charset="0"/>
              <a:buChar char="•"/>
              <a:defRPr sz="1667" b="0" i="0" kern="120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defRPr>
            </a:lvl5pPr>
            <a:lvl6pPr marL="2514499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/>
              <a:t>N° of accidents by Casualty Severity and other critical variables</a:t>
            </a:r>
            <a:endParaRPr lang="it-IT" sz="115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6EE8BD-AE42-44E7-B443-B5B55CA95DFC}"/>
              </a:ext>
            </a:extLst>
          </p:cNvPr>
          <p:cNvSpPr txBox="1"/>
          <p:nvPr/>
        </p:nvSpPr>
        <p:spPr>
          <a:xfrm>
            <a:off x="9984432" y="1646802"/>
            <a:ext cx="2880320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050" dirty="0">
                <a:latin typeface="IBM Plex Sans" charset="0"/>
                <a:ea typeface="IBM Plex Sans" charset="0"/>
                <a:cs typeface="IBM Plex Sans" charset="0"/>
              </a:rPr>
              <a:t>For data type info check the report</a:t>
            </a:r>
            <a:endParaRPr lang="it-IT" sz="1600" dirty="0" err="1">
              <a:latin typeface="IBM Plex Sans" charset="0"/>
              <a:ea typeface="IBM Plex Sans" charset="0"/>
              <a:cs typeface="IBM Plex Sans" charset="0"/>
            </a:endParaRPr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2976F76A-33A1-4546-8EEF-6802039D00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02" y="2708920"/>
            <a:ext cx="5706826" cy="3096344"/>
          </a:xfrm>
          <a:prstGeom prst="rect">
            <a:avLst/>
          </a:prstGeom>
        </p:spPr>
      </p:pic>
      <p:pic>
        <p:nvPicPr>
          <p:cNvPr id="10" name="Picture 9" descr="Chart&#10;&#10;Description automatically generated">
            <a:extLst>
              <a:ext uri="{FF2B5EF4-FFF2-40B4-BE49-F238E27FC236}">
                <a16:creationId xmlns:a16="http://schemas.microsoft.com/office/drawing/2014/main" id="{8C19DBCD-800C-40D4-AE1E-1A5BFB924C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2645913"/>
            <a:ext cx="6134228" cy="322235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0651192-DE4C-4170-B83C-4DDA79996118}"/>
              </a:ext>
            </a:extLst>
          </p:cNvPr>
          <p:cNvSpPr txBox="1"/>
          <p:nvPr/>
        </p:nvSpPr>
        <p:spPr>
          <a:xfrm>
            <a:off x="3008629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C00000"/>
                </a:solidFill>
                <a:latin typeface="IBM Plex Sans" charset="0"/>
                <a:ea typeface="IBM Plex Sans" charset="0"/>
                <a:cs typeface="IBM Plex Sans" charset="0"/>
              </a:rPr>
              <a:t>1. Fatal</a:t>
            </a:r>
            <a:endParaRPr lang="it-IT" sz="1400" b="1" dirty="0" err="1">
              <a:solidFill>
                <a:srgbClr val="C0000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92DCEBD-1D98-48D1-B715-3122F3E262CF}"/>
              </a:ext>
            </a:extLst>
          </p:cNvPr>
          <p:cNvSpPr txBox="1"/>
          <p:nvPr/>
        </p:nvSpPr>
        <p:spPr>
          <a:xfrm>
            <a:off x="5551989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FFC000"/>
                </a:solidFill>
                <a:latin typeface="IBM Plex Sans" charset="0"/>
                <a:ea typeface="IBM Plex Sans" charset="0"/>
                <a:cs typeface="IBM Plex Sans" charset="0"/>
              </a:rPr>
              <a:t>2. Serious</a:t>
            </a:r>
            <a:endParaRPr lang="it-IT" sz="1400" b="1" dirty="0" err="1">
              <a:solidFill>
                <a:srgbClr val="FFC00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8C0897-6722-4EF9-9A4E-188644585132}"/>
              </a:ext>
            </a:extLst>
          </p:cNvPr>
          <p:cNvSpPr txBox="1"/>
          <p:nvPr/>
        </p:nvSpPr>
        <p:spPr>
          <a:xfrm>
            <a:off x="8095348" y="6437043"/>
            <a:ext cx="1889084" cy="3818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92D050"/>
                </a:solidFill>
                <a:latin typeface="IBM Plex Sans" charset="0"/>
                <a:ea typeface="IBM Plex Sans" charset="0"/>
                <a:cs typeface="IBM Plex Sans" charset="0"/>
              </a:rPr>
              <a:t>3. Slight</a:t>
            </a:r>
            <a:endParaRPr lang="it-IT" sz="1400" b="1" dirty="0" err="1">
              <a:solidFill>
                <a:srgbClr val="92D050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B37ECF-128B-4E7C-903D-11082924523C}"/>
              </a:ext>
            </a:extLst>
          </p:cNvPr>
          <p:cNvSpPr txBox="1"/>
          <p:nvPr/>
        </p:nvSpPr>
        <p:spPr>
          <a:xfrm>
            <a:off x="233219" y="6381758"/>
            <a:ext cx="2448272" cy="2595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  <a:spcBef>
                <a:spcPts val="1000"/>
              </a:spcBef>
            </a:pPr>
            <a:r>
              <a:rPr lang="en-US" sz="1600" i="1" dirty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t>Casualty Severity Legend</a:t>
            </a:r>
            <a:endParaRPr lang="it-IT" sz="1600" i="1" dirty="0" err="1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1197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ark Background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2000" dirty="0">
            <a:latin typeface="IBM Plex Sans" panose="020B0503050000000000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91440" tIns="45720" rIns="91440" bIns="4572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BM 2019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IBM Plex Sans" charset="0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resentation4" id="{0352145E-2659-294B-9000-6005A7AA6779}" vid="{FD9BA62B-5F3B-CF45-93F6-D3C7F5E5D4AF}"/>
    </a:ext>
  </a:extLst>
</a:theme>
</file>

<file path=ppt/theme/theme3.xml><?xml version="1.0" encoding="utf-8"?>
<a:theme xmlns:a="http://schemas.openxmlformats.org/drawingml/2006/main" name="1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40000"/>
            <a:lumOff val="6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800" dirty="0" smtClean="0">
            <a:solidFill>
              <a:schemeClr val="tx1"/>
            </a:solidFill>
            <a:latin typeface="Avenir Book" panose="02000503020000020003" pitchFamily="2" charset="0"/>
            <a:cs typeface="Calibri" panose="020F05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WHITE">
  <a:themeElements>
    <a:clrScheme name="IBM Services Palette Final">
      <a:dk1>
        <a:srgbClr val="000000"/>
      </a:dk1>
      <a:lt1>
        <a:srgbClr val="051243"/>
      </a:lt1>
      <a:dk2>
        <a:srgbClr val="F3F3F3"/>
      </a:dk2>
      <a:lt2>
        <a:srgbClr val="FFFFFF"/>
      </a:lt2>
      <a:accent1>
        <a:srgbClr val="6EA6FF"/>
      </a:accent1>
      <a:accent2>
        <a:srgbClr val="0F6DFF"/>
      </a:accent2>
      <a:accent3>
        <a:srgbClr val="0530AD"/>
      </a:accent3>
      <a:accent4>
        <a:srgbClr val="00BAB6"/>
      </a:accent4>
      <a:accent5>
        <a:srgbClr val="924CFC"/>
      </a:accent5>
      <a:accent6>
        <a:srgbClr val="D7306D"/>
      </a:accent6>
      <a:hlink>
        <a:srgbClr val="0F6DFF"/>
      </a:hlink>
      <a:folHlink>
        <a:srgbClr val="E0E0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>
          <a:lnSpc>
            <a:spcPct val="105000"/>
          </a:lnSpc>
          <a:spcBef>
            <a:spcPts val="1000"/>
          </a:spcBef>
          <a:defRPr sz="2000" dirty="0" err="1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D33E200D-9260-B64E-B6F1-29276819CA4F}"/>
    </a:ext>
  </a:extLst>
</a:theme>
</file>

<file path=ppt/theme/theme6.xml><?xml version="1.0" encoding="utf-8"?>
<a:theme xmlns:a="http://schemas.openxmlformats.org/drawingml/2006/main" name="Office Them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62E2D4E7704D4AB6A3353CC8BFCAA9" ma:contentTypeVersion="12" ma:contentTypeDescription="Create a new document." ma:contentTypeScope="" ma:versionID="d72f40032ddffeb66aeec10e8e28a3be">
  <xsd:schema xmlns:xsd="http://www.w3.org/2001/XMLSchema" xmlns:xs="http://www.w3.org/2001/XMLSchema" xmlns:p="http://schemas.microsoft.com/office/2006/metadata/properties" xmlns:ns1="http://schemas.microsoft.com/sharepoint/v3" xmlns:ns3="dcd192dc-3edd-4895-b0be-b6fb7dd4d2c2" xmlns:ns4="e8012fa3-6987-43e4-935f-759f15a00ccb" targetNamespace="http://schemas.microsoft.com/office/2006/metadata/properties" ma:root="true" ma:fieldsID="d08a6505c7472b0e7be795ebeedd854f" ns1:_="" ns3:_="" ns4:_="">
    <xsd:import namespace="http://schemas.microsoft.com/sharepoint/v3"/>
    <xsd:import namespace="dcd192dc-3edd-4895-b0be-b6fb7dd4d2c2"/>
    <xsd:import namespace="e8012fa3-6987-43e4-935f-759f15a00cc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1:_ip_UnifiedCompliancePolicyProperties" minOccurs="0"/>
                <xsd:element ref="ns1:_ip_UnifiedCompliancePolicyUIAc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d192dc-3edd-4895-b0be-b6fb7dd4d2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012fa3-6987-43e4-935f-759f15a00cc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F54FF6B-4ECA-43CB-9428-3D6517E55AFF}">
  <ds:schemaRefs>
    <ds:schemaRef ds:uri="http://purl.org/dc/elements/1.1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e8012fa3-6987-43e4-935f-759f15a00ccb"/>
    <ds:schemaRef ds:uri="dcd192dc-3edd-4895-b0be-b6fb7dd4d2c2"/>
    <ds:schemaRef ds:uri="http://schemas.microsoft.com/sharepoint/v3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562A611-3E86-4DFB-9FE6-781240AAC01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CADAA59-4B76-4FD7-89BA-A13573FEF2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cd192dc-3edd-4895-b0be-b6fb7dd4d2c2"/>
    <ds:schemaRef ds:uri="e8012fa3-6987-43e4-935f-759f15a00c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ONE official template 2016</Template>
  <TotalTime>27679</TotalTime>
  <Words>370</Words>
  <Application>Microsoft Office PowerPoint</Application>
  <PresentationFormat>Widescreen</PresentationFormat>
  <Paragraphs>72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3" baseType="lpstr">
      <vt:lpstr>.AppleSystemUIFont</vt:lpstr>
      <vt:lpstr>Arial</vt:lpstr>
      <vt:lpstr>Arial Regular</vt:lpstr>
      <vt:lpstr>Avenir Book</vt:lpstr>
      <vt:lpstr>Calibri</vt:lpstr>
      <vt:lpstr>HelvNeue Light for IBM</vt:lpstr>
      <vt:lpstr>IBM Plex Sans</vt:lpstr>
      <vt:lpstr>IBM Plex Sans Light</vt:lpstr>
      <vt:lpstr>IBM Plex Sans Regular</vt:lpstr>
      <vt:lpstr>LucidaGrande</vt:lpstr>
      <vt:lpstr>System Font Regular</vt:lpstr>
      <vt:lpstr>Times New Roman</vt:lpstr>
      <vt:lpstr>Wingdings</vt:lpstr>
      <vt:lpstr>3_Dark Background</vt:lpstr>
      <vt:lpstr>1_IBM 2019 Master template (black background)</vt:lpstr>
      <vt:lpstr>14_Custom Design</vt:lpstr>
      <vt:lpstr>1_WHITE</vt:lpstr>
      <vt:lpstr>wht_background_2017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bservations  </vt:lpstr>
    </vt:vector>
  </TitlesOfParts>
  <Manager>KONE corporation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IBM partnership planning</dc:title>
  <dc:subject>widescreen</dc:subject>
  <dc:creator>Janorious Rabeela</dc:creator>
  <cp:lastModifiedBy>Lorenzo Brescia</cp:lastModifiedBy>
  <cp:revision>1457</cp:revision>
  <dcterms:created xsi:type="dcterms:W3CDTF">2020-03-03T13:42:38Z</dcterms:created>
  <dcterms:modified xsi:type="dcterms:W3CDTF">2020-10-07T22:4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62E2D4E7704D4AB6A3353CC8BFCAA9</vt:lpwstr>
  </property>
</Properties>
</file>